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4118" r:id="rId4"/>
  </p:sldMasterIdLst>
  <p:notesMasterIdLst>
    <p:notesMasterId r:id="rId19"/>
  </p:notesMasterIdLst>
  <p:handoutMasterIdLst>
    <p:handoutMasterId r:id="rId20"/>
  </p:handoutMasterIdLst>
  <p:sldIdLst>
    <p:sldId id="2145706644" r:id="rId5"/>
    <p:sldId id="2145706654" r:id="rId6"/>
    <p:sldId id="1682" r:id="rId7"/>
    <p:sldId id="2145706684" r:id="rId8"/>
    <p:sldId id="2145706685" r:id="rId9"/>
    <p:sldId id="2145706686" r:id="rId10"/>
    <p:sldId id="2145706687" r:id="rId11"/>
    <p:sldId id="2145706688" r:id="rId12"/>
    <p:sldId id="2145706689" r:id="rId13"/>
    <p:sldId id="2145706690" r:id="rId14"/>
    <p:sldId id="2145706691" r:id="rId15"/>
    <p:sldId id="2145706692" r:id="rId16"/>
    <p:sldId id="2145706693" r:id="rId17"/>
    <p:sldId id="2145706694" r:id="rId18"/>
  </p:sldIdLst>
  <p:sldSz cx="12192000" cy="6858000"/>
  <p:notesSz cx="6797675" cy="9926638"/>
  <p:embeddedFontLst>
    <p:embeddedFont>
      <p:font typeface="Ubuntu" panose="020B0504030602030204" pitchFamily="34" charset="0"/>
      <p:regular r:id="rId21"/>
      <p:bold r:id="rId22"/>
      <p:italic r:id="rId23"/>
      <p:boldItalic r:id="rId24"/>
    </p:embeddedFont>
    <p:embeddedFont>
      <p:font typeface="Ubuntu Light" panose="020B0304030602030204" pitchFamily="34" charset="0"/>
      <p:regular r:id="rId25"/>
      <p:italic r:id="rId26"/>
    </p:embeddedFont>
    <p:embeddedFont>
      <p:font typeface="Ubuntu Medium" panose="020B0604030602030204" pitchFamily="34" charset="0"/>
      <p:regular r:id="rId27"/>
      <p:italic r:id="rId28"/>
    </p:embeddedFont>
    <p:embeddedFont>
      <p:font typeface="Verdana" panose="020B0604030504040204" pitchFamily="34" charset="0"/>
      <p:regular r:id="rId29"/>
      <p:bold r:id="rId30"/>
      <p:italic r:id="rId31"/>
      <p:boldItalic r:id="rId32"/>
    </p:embeddedFont>
  </p:embeddedFontLst>
  <p:custDataLst>
    <p:tags r:id="rId33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orient="horz" pos="2886" userDrawn="1">
          <p15:clr>
            <a:srgbClr val="A4A3A4"/>
          </p15:clr>
        </p15:guide>
        <p15:guide id="19" pos="5609" userDrawn="1">
          <p15:clr>
            <a:srgbClr val="A4A3A4"/>
          </p15:clr>
        </p15:guide>
        <p15:guide id="20" pos="20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14596B"/>
    <a:srgbClr val="616585"/>
    <a:srgbClr val="F6F6F6"/>
    <a:srgbClr val="005482"/>
    <a:srgbClr val="272936"/>
    <a:srgbClr val="003857"/>
    <a:srgbClr val="E6E6E6"/>
    <a:srgbClr val="00C37B"/>
    <a:srgbClr val="FF6327"/>
    <a:srgbClr val="CB29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86398" autoAdjust="0"/>
  </p:normalViewPr>
  <p:slideViewPr>
    <p:cSldViewPr>
      <p:cViewPr varScale="1">
        <p:scale>
          <a:sx n="59" d="100"/>
          <a:sy n="59" d="100"/>
        </p:scale>
        <p:origin x="964" y="28"/>
      </p:cViewPr>
      <p:guideLst>
        <p:guide orient="horz" pos="2886"/>
        <p:guide pos="5609"/>
        <p:guide pos="2071"/>
      </p:guideLst>
    </p:cSldViewPr>
  </p:slideViewPr>
  <p:outlineViewPr>
    <p:cViewPr>
      <p:scale>
        <a:sx n="33" d="100"/>
        <a:sy n="33" d="100"/>
      </p:scale>
      <p:origin x="0" y="-90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1504"/>
    </p:cViewPr>
  </p:sorterViewPr>
  <p:notesViewPr>
    <p:cSldViewPr>
      <p:cViewPr varScale="1">
        <p:scale>
          <a:sx n="106" d="100"/>
          <a:sy n="106" d="100"/>
        </p:scale>
        <p:origin x="2384" y="6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6.fntdata"/><Relationship Id="rId21" Type="http://schemas.openxmlformats.org/officeDocument/2006/relationships/font" Target="fonts/font1.fntdata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5.fntdata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29" Type="http://schemas.openxmlformats.org/officeDocument/2006/relationships/font" Target="fonts/font9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4.fntdata"/><Relationship Id="rId32" Type="http://schemas.openxmlformats.org/officeDocument/2006/relationships/font" Target="fonts/font12.fntdata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3.fntdata"/><Relationship Id="rId28" Type="http://schemas.openxmlformats.org/officeDocument/2006/relationships/font" Target="fonts/font8.fntdata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31" Type="http://schemas.openxmlformats.org/officeDocument/2006/relationships/font" Target="fonts/font11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2.fntdata"/><Relationship Id="rId27" Type="http://schemas.openxmlformats.org/officeDocument/2006/relationships/font" Target="fonts/font7.fntdata"/><Relationship Id="rId30" Type="http://schemas.openxmlformats.org/officeDocument/2006/relationships/font" Target="fonts/font10.fntdata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18" tIns="45708" rIns="91418" bIns="45708" rtlCol="0"/>
          <a:lstStyle>
            <a:lvl1pPr algn="l">
              <a:defRPr sz="1200"/>
            </a:lvl1pPr>
          </a:lstStyle>
          <a:p>
            <a:endParaRPr lang="pt-PT" sz="90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18" tIns="45708" rIns="91418" bIns="45708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/>
              <a:pPr/>
              <a:t>21/01/2025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6"/>
            <a:ext cx="2945659" cy="498055"/>
          </a:xfrm>
          <a:prstGeom prst="rect">
            <a:avLst/>
          </a:prstGeom>
        </p:spPr>
        <p:txBody>
          <a:bodyPr vert="horz" lIns="91418" tIns="45708" rIns="91418" bIns="45708" rtlCol="0" anchor="b"/>
          <a:lstStyle>
            <a:lvl1pPr algn="l">
              <a:defRPr sz="1200"/>
            </a:lvl1pPr>
          </a:lstStyle>
          <a:p>
            <a:endParaRPr lang="pt-PT" sz="9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6"/>
            <a:ext cx="2945659" cy="498055"/>
          </a:xfrm>
          <a:prstGeom prst="rect">
            <a:avLst/>
          </a:prstGeom>
        </p:spPr>
        <p:txBody>
          <a:bodyPr vert="horz" lIns="91418" tIns="45708" rIns="91418" bIns="45708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/>
              <a:pPr/>
              <a:t>‹#›</a:t>
            </a:fld>
            <a:endParaRPr lang="pt-PT" sz="900" dirty="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26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18" tIns="45708" rIns="91418" bIns="45708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18" tIns="45708" rIns="91418" bIns="45708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1/01/2025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8" tIns="45708" rIns="91418" bIns="45708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18" tIns="45708" rIns="91418" bIns="45708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9428586"/>
            <a:ext cx="2945659" cy="498055"/>
          </a:xfrm>
          <a:prstGeom prst="rect">
            <a:avLst/>
          </a:prstGeom>
        </p:spPr>
        <p:txBody>
          <a:bodyPr vert="horz" lIns="91418" tIns="45708" rIns="91418" bIns="45708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50443" y="9428586"/>
            <a:ext cx="2945659" cy="498055"/>
          </a:xfrm>
          <a:prstGeom prst="rect">
            <a:avLst/>
          </a:prstGeom>
        </p:spPr>
        <p:txBody>
          <a:bodyPr vert="horz" lIns="91418" tIns="45708" rIns="91418" bIns="45708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906998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E66E35-9722-603A-EB05-B25975047F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E2681F-198F-6398-073D-011A416477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C45E3C8-71D7-4280-E7F7-3C66AB1B55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52C96C-28B4-C2FD-7BA7-05AEC3DF18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852039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7CBAE7-414B-0042-2F60-6831885DF2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C943954-0FAD-878A-AC00-A7F7255547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E5EF908-5896-B92C-4129-3C77F28CCD8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D09DDB-BCD8-45C5-FC4F-2D948D0E0D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449752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58B2A2-51A6-D3A7-4849-9AC77C1B78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B8EB4C-7E32-5A22-8FD7-53C50E8F721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3D78709-09B8-A6A7-9C11-54009AB77BC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CA3DA1-CBB6-20BE-FF68-4EC744436E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396656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66AB29-ED9D-1E3B-99C3-315435BDD1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0C0156F-D96D-E1E9-9305-C47006474C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9E9AE3-B2BB-6867-8E35-65CF0FD236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BBE811-B614-C1DF-F045-5935D988CE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378248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322D3B-A0BD-EA1E-37AE-82C7063965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DBCEC2-CDC5-B506-162F-76676ACAA8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0775D0B-09FF-B4EF-916D-66CAF1FFE5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5B31DE-4633-4324-7A85-E4DA2AEDE1F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968696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DFC1BF-4384-C74D-FA3B-663A3ACB4D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E1A8B06-FC8F-9D95-5ED4-26E8CBB49E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DE9FBE-8734-3D8F-96F4-F3E9EB793C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14426C-D3CA-4C6A-26DB-3A051F03CF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300343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03C2CE-6ABB-4D49-7E1C-3494623D5C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1C0C27A-D1E9-761C-BC85-93EE7165A4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4749DCB-5500-4B3E-97FB-DA7E1EE6F2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C7C5C0-25EA-E98D-4A43-8C7AA890FCD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197073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6029E7-B410-C17A-319E-00509C2D52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B779F6C-DFC1-B02C-DBBE-588B6586A6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105981-1303-7C26-82A8-EA60020873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ED9320-5C15-605C-D70E-6CE773CEA92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505914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EA25CC-D800-1F35-8B6D-E9593284EE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4822DA3-24DE-6B8B-0BEF-C851FE288D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5EF0A98-C670-DF56-C869-31E730B261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542CE0-7636-530D-1986-5751ACA235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710932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D1A1FA-5E93-4771-330E-57130772D9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685F7AD-F8DC-9DCD-B6E4-3A2DF484DA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46144C2-8C75-E233-0733-54ABFB35C8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18DE97-9C0A-1F2E-91E2-60A94FFC82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660643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hyperlink" Target="http://www.facebook.com/capgemini" TargetMode="External"/><Relationship Id="rId7" Type="http://schemas.openxmlformats.org/officeDocument/2006/relationships/hyperlink" Target="http://www.slideshare.net/capgemini" TargetMode="External"/><Relationship Id="rId12" Type="http://schemas.openxmlformats.org/officeDocument/2006/relationships/image" Target="../media/image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11" Type="http://schemas.openxmlformats.org/officeDocument/2006/relationships/image" Target="../media/image3.png"/><Relationship Id="rId5" Type="http://schemas.openxmlformats.org/officeDocument/2006/relationships/hyperlink" Target="http://www.linkedin.com/company/capgemini" TargetMode="External"/><Relationship Id="rId10" Type="http://schemas.openxmlformats.org/officeDocument/2006/relationships/image" Target="../media/image11.png"/><Relationship Id="rId4" Type="http://schemas.openxmlformats.org/officeDocument/2006/relationships/image" Target="../media/image8.png"/><Relationship Id="rId9" Type="http://schemas.openxmlformats.org/officeDocument/2006/relationships/hyperlink" Target="http://www.youtube.com/capgeminimedia" TargetMode="Externa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hyperlink" Target="http://www.facebook.com/capgemini" TargetMode="External"/><Relationship Id="rId7" Type="http://schemas.openxmlformats.org/officeDocument/2006/relationships/hyperlink" Target="http://www.slideshare.net/capgemini" TargetMode="External"/><Relationship Id="rId12" Type="http://schemas.openxmlformats.org/officeDocument/2006/relationships/image" Target="../media/image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11" Type="http://schemas.openxmlformats.org/officeDocument/2006/relationships/image" Target="../media/image3.png"/><Relationship Id="rId5" Type="http://schemas.openxmlformats.org/officeDocument/2006/relationships/hyperlink" Target="http://www.linkedin.com/company/capgemini" TargetMode="External"/><Relationship Id="rId10" Type="http://schemas.openxmlformats.org/officeDocument/2006/relationships/image" Target="../media/image11.png"/><Relationship Id="rId4" Type="http://schemas.openxmlformats.org/officeDocument/2006/relationships/image" Target="../media/image8.png"/><Relationship Id="rId9" Type="http://schemas.openxmlformats.org/officeDocument/2006/relationships/hyperlink" Target="http://www.youtube.com/capgeminimedia" TargetMode="External"/></Relationships>
</file>

<file path=ppt/slideLayouts/_rels/slideLayout4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15.png"/><Relationship Id="rId3" Type="http://schemas.openxmlformats.org/officeDocument/2006/relationships/hyperlink" Target="http://www.facebook.com/capgemini" TargetMode="External"/><Relationship Id="rId7" Type="http://schemas.openxmlformats.org/officeDocument/2006/relationships/image" Target="../media/image13.png"/><Relationship Id="rId12" Type="http://schemas.openxmlformats.org/officeDocument/2006/relationships/hyperlink" Target="http://www.youtube.com/capgeminimedia" TargetMode="Externa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://www.linkedin.com/company/capgemini" TargetMode="External"/><Relationship Id="rId11" Type="http://schemas.microsoft.com/office/2007/relationships/hdphoto" Target="../media/hdphoto3.wdp"/><Relationship Id="rId5" Type="http://schemas.microsoft.com/office/2007/relationships/hdphoto" Target="../media/hdphoto1.wdp"/><Relationship Id="rId15" Type="http://schemas.openxmlformats.org/officeDocument/2006/relationships/image" Target="../media/image2.png"/><Relationship Id="rId10" Type="http://schemas.openxmlformats.org/officeDocument/2006/relationships/image" Target="../media/image14.png"/><Relationship Id="rId4" Type="http://schemas.openxmlformats.org/officeDocument/2006/relationships/image" Target="../media/image12.png"/><Relationship Id="rId9" Type="http://schemas.openxmlformats.org/officeDocument/2006/relationships/hyperlink" Target="http://www.slideshare.net/capgemini" TargetMode="External"/><Relationship Id="rId14" Type="http://schemas.microsoft.com/office/2007/relationships/hdphoto" Target="../media/hdphoto4.wdp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">
            <a:extLst>
              <a:ext uri="{FF2B5EF4-FFF2-40B4-BE49-F238E27FC236}">
                <a16:creationId xmlns:a16="http://schemas.microsoft.com/office/drawing/2014/main" id="{70ACFCFC-1DDE-342C-6F6C-421985D8A3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88" y="5460790"/>
            <a:ext cx="11090275" cy="246221"/>
          </a:xfrm>
          <a:prstGeom prst="rect">
            <a:avLst/>
          </a:prstGeom>
        </p:spPr>
        <p:txBody>
          <a:bodyPr wrap="square" lIns="18000" tIns="0" rIns="0" anchor="b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BA5DDAC5-BAB8-79F8-0B48-89767D2C03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4697327"/>
            <a:ext cx="11090276" cy="747897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29" name="Image 10">
            <a:extLst>
              <a:ext uri="{FF2B5EF4-FFF2-40B4-BE49-F238E27FC236}">
                <a16:creationId xmlns:a16="http://schemas.microsoft.com/office/drawing/2014/main" id="{0B5A64B7-F3D1-A721-8ED3-E269A953F7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80" y="5625129"/>
            <a:ext cx="4932000" cy="1214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3686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343473" y="1"/>
            <a:ext cx="10877102" cy="2931886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43473" y="5498477"/>
            <a:ext cx="10440540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3473" y="5082209"/>
            <a:ext cx="10440540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43473" y="3429000"/>
            <a:ext cx="10440540" cy="1580003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24" name="Image 10">
            <a:extLst>
              <a:ext uri="{FF2B5EF4-FFF2-40B4-BE49-F238E27FC236}">
                <a16:creationId xmlns:a16="http://schemas.microsoft.com/office/drawing/2014/main" id="{5FAD036F-989E-0A85-E89E-0AAB32F1DA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432" y="5625129"/>
            <a:ext cx="4932000" cy="1214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7779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59896" y="1916832"/>
            <a:ext cx="7032104" cy="4941168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609034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609034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368" y="1052513"/>
            <a:ext cx="4609034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pic>
        <p:nvPicPr>
          <p:cNvPr id="2" name="Graphique 1">
            <a:extLst>
              <a:ext uri="{FF2B5EF4-FFF2-40B4-BE49-F238E27FC236}">
                <a16:creationId xmlns:a16="http://schemas.microsoft.com/office/drawing/2014/main" id="{DD2ABA2F-1B99-8EC5-1DAF-F19F42FFBC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8" y="5997831"/>
            <a:ext cx="4132980" cy="49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6706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a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59896" y="1916832"/>
            <a:ext cx="7032104" cy="3528392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609034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609034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368" y="1067647"/>
            <a:ext cx="4609034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pic>
        <p:nvPicPr>
          <p:cNvPr id="24" name="Image 10">
            <a:extLst>
              <a:ext uri="{FF2B5EF4-FFF2-40B4-BE49-F238E27FC236}">
                <a16:creationId xmlns:a16="http://schemas.microsoft.com/office/drawing/2014/main" id="{DC2573C1-98DE-78CB-9F81-E1BAA650D5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80" y="5625129"/>
            <a:ext cx="4932000" cy="1214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5369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b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916832"/>
            <a:ext cx="3816424" cy="4941168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597606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597606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368" y="1052513"/>
            <a:ext cx="4597606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pic>
        <p:nvPicPr>
          <p:cNvPr id="2" name="Graphique 1">
            <a:extLst>
              <a:ext uri="{FF2B5EF4-FFF2-40B4-BE49-F238E27FC236}">
                <a16:creationId xmlns:a16="http://schemas.microsoft.com/office/drawing/2014/main" id="{5A7779A5-A14D-2B8B-65BA-48A4B70161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8" y="5997831"/>
            <a:ext cx="4132980" cy="49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780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c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343473" y="1"/>
            <a:ext cx="10877102" cy="2931886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43473" y="5498477"/>
            <a:ext cx="10440540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3473" y="5082209"/>
            <a:ext cx="10440540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43473" y="3429000"/>
            <a:ext cx="10440540" cy="1580003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F4363461-556F-35AE-EAA2-5AB53EC444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43473" y="5997831"/>
            <a:ext cx="4132980" cy="49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98685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749D2F3-3C15-428F-AF70-D31974E2F3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2613" y="3199768"/>
            <a:ext cx="9079459" cy="3532255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19069D-5D68-4DB4-B45F-92CCC7107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94570" y="1628775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AA1A2157-04CD-44FC-8492-E3FAFE326F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94570" y="2221388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199E21EB-D052-4206-952C-D3FE77AA1C8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794570" y="2814001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AA932A-4442-4987-878D-3B69D84A4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79500" y="1628775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EAA65ABF-5E47-4A8A-934B-E9458D034F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79500" y="2221388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AE370511-ABDA-4008-B938-10F0105CBF6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79500" y="2814001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CABD3DEA-D9AC-49A6-AB02-7A5380BF518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94570" y="3406614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C143C05F-5CEC-4DA0-8030-D7B2370EBB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94570" y="3999227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96B43F80-D448-432F-A45D-FE4715923FC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94570" y="4591841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C434EB54-C0D1-4857-9330-87FAFCC49D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79500" y="3406614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0320016-4C9A-409B-8724-E53F23529A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79500" y="3999227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F0279A3C-5E27-40F7-98C0-08832F4CE1F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79500" y="4591841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14BB18C-C624-35CB-514D-CE1A312E0B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9321" y="260350"/>
            <a:ext cx="8640763" cy="7921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064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6C4263A-DA82-3AB3-0A84-F2337DC19F6E}"/>
              </a:ext>
            </a:extLst>
          </p:cNvPr>
          <p:cNvSpPr/>
          <p:nvPr userDrawn="1"/>
        </p:nvSpPr>
        <p:spPr>
          <a:xfrm>
            <a:off x="-24680" y="1484784"/>
            <a:ext cx="5735960" cy="5373217"/>
          </a:xfrm>
          <a:prstGeom prst="rect">
            <a:avLst/>
          </a:prstGeom>
          <a:solidFill>
            <a:srgbClr val="173340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186504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368" y="253718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320932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388146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368" y="455360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368" y="522574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589788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5111C9-BF1D-4957-9C22-F45DD34F3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71" y="260350"/>
            <a:ext cx="5681029" cy="7921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7191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ark and Pictur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8">
            <a:extLst>
              <a:ext uri="{FF2B5EF4-FFF2-40B4-BE49-F238E27FC236}">
                <a16:creationId xmlns:a16="http://schemas.microsoft.com/office/drawing/2014/main" id="{D3B1FE99-E8D3-C5FE-4E44-4E4EF67B45D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1" y="908721"/>
            <a:ext cx="6096000" cy="5949280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B342561-1DD2-4DA7-BA2A-C8E3856FE9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692696"/>
            <a:ext cx="4751907" cy="720179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80000"/>
              </a:lnSpc>
              <a:defRPr lang="en-GB" sz="3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Agenda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6DF15B-7249-491B-BFB7-9A33784178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7988" y="1916832"/>
            <a:ext cx="5471988" cy="4536356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200"/>
              </a:spcBef>
              <a:defRPr sz="18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7933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ar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19069D-5D68-4DB4-B45F-92CCC7107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94570" y="1628775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AA1A2157-04CD-44FC-8492-E3FAFE326F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94570" y="2221388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199E21EB-D052-4206-952C-D3FE77AA1C8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794570" y="2814001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AA932A-4442-4987-878D-3B69D84A4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79500" y="1628775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EAA65ABF-5E47-4A8A-934B-E9458D034F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79500" y="2221388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AE370511-ABDA-4008-B938-10F0105CBF6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79500" y="2814001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CABD3DEA-D9AC-49A6-AB02-7A5380BF518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94570" y="3406614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C143C05F-5CEC-4DA0-8030-D7B2370EBB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94570" y="3999227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96B43F80-D448-432F-A45D-FE4715923FC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94570" y="4591841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C434EB54-C0D1-4857-9330-87FAFCC49D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79500" y="3406614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0320016-4C9A-409B-8724-E53F23529A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79500" y="3999227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F0279A3C-5E27-40F7-98C0-08832F4CE1F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79500" y="4591841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08BAF09-C52E-54E6-E538-78C64D8AB5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9321" y="260350"/>
            <a:ext cx="8640763" cy="792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16">
            <a:extLst>
              <a:ext uri="{FF2B5EF4-FFF2-40B4-BE49-F238E27FC236}">
                <a16:creationId xmlns:a16="http://schemas.microsoft.com/office/drawing/2014/main" id="{21B52807-7673-5576-DEE4-0A88870C0C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5800" y="1700808"/>
            <a:ext cx="828135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7871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a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9F09D0F-E907-3A0B-CF17-D622F6756C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776" y="588210"/>
            <a:ext cx="8281358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2F5917D-61BC-41CF-A3CC-DAE6954137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19536" y="1556792"/>
            <a:ext cx="648072" cy="648072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>
              <a:defRPr lang="en-US" sz="3200" b="1" cap="none" spc="300" baseline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01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0E372CD-CFED-4FF2-90F5-6A7F33D9AB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83632" y="1556792"/>
            <a:ext cx="8863408" cy="648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3200">
                <a:solidFill>
                  <a:schemeClr val="bg1"/>
                </a:solidFill>
              </a:defRPr>
            </a:lvl4pPr>
            <a:lvl5pPr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3104588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a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">
            <a:extLst>
              <a:ext uri="{FF2B5EF4-FFF2-40B4-BE49-F238E27FC236}">
                <a16:creationId xmlns:a16="http://schemas.microsoft.com/office/drawing/2014/main" id="{263427DF-DAE9-5C4C-6A1A-438ED4F521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5457155"/>
            <a:ext cx="11090276" cy="246221"/>
          </a:xfrm>
          <a:prstGeom prst="rect">
            <a:avLst/>
          </a:prstGeom>
        </p:spPr>
        <p:txBody>
          <a:bodyPr wrap="square" lIns="18000" tIns="0" rIns="0" anchor="b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AAC7C66-F303-132A-295B-65A79300A3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4697327"/>
            <a:ext cx="11090276" cy="747897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5" name="Graphique 4">
            <a:extLst>
              <a:ext uri="{FF2B5EF4-FFF2-40B4-BE49-F238E27FC236}">
                <a16:creationId xmlns:a16="http://schemas.microsoft.com/office/drawing/2014/main" id="{C3A3DC63-F820-7E34-9DFC-AAB2AE89C9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8" y="5997831"/>
            <a:ext cx="4132980" cy="49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078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2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3E65870-6F3C-04B2-E814-901DB0CFC0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776" y="588210"/>
            <a:ext cx="8281358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2F5917D-61BC-41CF-A3CC-DAE6954137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19536" y="1556792"/>
            <a:ext cx="648072" cy="648072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>
              <a:defRPr lang="en-US" sz="3200" b="1" cap="none" spc="300" baseline="0" dirty="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01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0E372CD-CFED-4FF2-90F5-6A7F33D9AB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83632" y="1556792"/>
            <a:ext cx="8863408" cy="648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ysClr val="windowText" lastClr="000000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3200">
                <a:solidFill>
                  <a:schemeClr val="bg1"/>
                </a:solidFill>
              </a:defRPr>
            </a:lvl4pPr>
            <a:lvl5pPr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961531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A8CE45-A6FC-9CE9-F8CD-BA044CFE9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70259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3D6CCA-5023-D91C-5084-3ED466DC80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90557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BA091BB-1771-4A6F-B93C-43E4798B42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4D202-FD32-49BA-88CC-B39D233950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4108"/>
            <a:ext cx="11369042" cy="482908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0793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979585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D8E58F-8094-1E41-530A-1113B38797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59244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963528-AA21-5972-C236-27F2D7209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17014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Conten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4D202-FD32-49BA-88CC-B39D233950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4108"/>
            <a:ext cx="11369042" cy="482908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564CED-1C28-DF10-1067-5941504A9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56664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368043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6C4F5EE7-6CA6-23D5-2788-911B0B2A43B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040215" y="1122907"/>
            <a:ext cx="4151785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98C3DB19-4889-48D4-AFFB-A1B288723D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7409221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23C25D57-CF8D-453D-9648-5B7859B01F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8800"/>
            <a:ext cx="7409221" cy="4824388"/>
          </a:xfrm>
          <a:prstGeom prst="rect">
            <a:avLst/>
          </a:prstGeom>
        </p:spPr>
        <p:txBody>
          <a:bodyPr rIns="21600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50C691-8B76-E01C-4EF1-3EB567E0EB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1521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">
            <a:extLst>
              <a:ext uri="{FF2B5EF4-FFF2-40B4-BE49-F238E27FC236}">
                <a16:creationId xmlns:a16="http://schemas.microsoft.com/office/drawing/2014/main" id="{A762397C-7EE3-E752-C3C7-E1EB83F8081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70" y="3676570"/>
            <a:ext cx="5545138" cy="246221"/>
          </a:xfrm>
          <a:prstGeom prst="rect">
            <a:avLst/>
          </a:prstGeom>
        </p:spPr>
        <p:txBody>
          <a:bodyPr wrap="square" lIns="18000" tIns="0" rIns="0" anchor="b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EA67FB30-5217-5F8D-B4ED-781E4E0C89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1343944"/>
            <a:ext cx="5545139" cy="2326627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04E8B402-A28C-9742-E11A-B00843CA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368" y="1051220"/>
            <a:ext cx="5545139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FB8ACE6C-41DA-D5BD-67E0-80BF689622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8" y="5997831"/>
            <a:ext cx="4132980" cy="49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415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97BD40BB-A2F0-F646-3CC2-596CC419583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1122907"/>
            <a:ext cx="6096001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859F9A52-5C59-4371-8261-06DAE7261A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5545800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F1655B6-7DE6-4895-863F-EF917B2F07E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8775"/>
            <a:ext cx="5545137" cy="4824413"/>
          </a:xfrm>
          <a:prstGeom prst="rect">
            <a:avLst/>
          </a:prstGeom>
        </p:spPr>
        <p:txBody>
          <a:bodyPr rIns="21600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0C572A4-9113-ABE4-A840-37A9AAC56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6511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FB58C20F-AA44-45A0-8BD7-3F72A12E08AD}"/>
              </a:ext>
            </a:extLst>
          </p:cNvPr>
          <p:cNvSpPr/>
          <p:nvPr userDrawn="1"/>
        </p:nvSpPr>
        <p:spPr>
          <a:xfrm>
            <a:off x="0" y="0"/>
            <a:ext cx="407366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8003CB7C-5AB2-4487-B779-DFE57F79C5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44744" y="1125538"/>
            <a:ext cx="6984000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219CA61-951E-46A4-A7C6-8A4C09FDC62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5407" y="1628774"/>
            <a:ext cx="6962544" cy="48244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D7751A-AC4E-473A-B544-73973FAE946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4223792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icon to add picture and send picture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A52824-0DEF-7B5E-1D4F-BCBC062D66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9384" y="260350"/>
            <a:ext cx="6984000" cy="7921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58792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8930BD6-6C9D-490A-BF02-403245ED990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7895A1A3-A6AA-456A-98DD-23651F1D1D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84032" y="1125538"/>
            <a:ext cx="5063967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F2C12DC-68D5-4DF5-891E-DAEB8A4AB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84032" y="1627200"/>
            <a:ext cx="5063967" cy="48259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AAAC9D4-CD35-41A1-A14D-B18A58A2866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icon to add picture and send picture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7337B1-E3AC-A7E5-7836-78F324F9F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9417" y="260350"/>
            <a:ext cx="5063967" cy="7921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97279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D8E58F-8094-1E41-530A-1113B38797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31742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1949725-ACD2-44C4-85AF-10B39EC614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 lIns="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771E05-0646-A062-8DD0-B00651AE6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14079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Content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4D202-FD32-49BA-88CC-B39D233950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4108"/>
            <a:ext cx="11369042" cy="4829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564CED-1C28-DF10-1067-5941504A9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79813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7D3C6BC6-663C-C133-76CE-9BAB02DAEDB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967663" y="1122907"/>
            <a:ext cx="4224338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98C3DB19-4889-48D4-AFFB-A1B288723D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7337213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13880FA-A20C-4104-8D48-DC99C13D0B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8800"/>
            <a:ext cx="7337213" cy="4824388"/>
          </a:xfrm>
          <a:prstGeom prst="rect">
            <a:avLst/>
          </a:prstGeom>
        </p:spPr>
        <p:txBody>
          <a:bodyPr rIns="216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buClrTx/>
              <a:defRPr sz="1400">
                <a:solidFill>
                  <a:schemeClr val="bg1"/>
                </a:solidFill>
              </a:defRPr>
            </a:lvl2pPr>
            <a:lvl3pPr>
              <a:buClrTx/>
              <a:defRPr sz="1400">
                <a:solidFill>
                  <a:schemeClr val="bg1"/>
                </a:solidFill>
              </a:defRPr>
            </a:lvl3pPr>
            <a:lvl4pPr>
              <a:buClrTx/>
              <a:defRPr sz="1200">
                <a:solidFill>
                  <a:schemeClr val="bg1"/>
                </a:solidFill>
              </a:defRPr>
            </a:lvl4pPr>
            <a:lvl5pPr>
              <a:buClrTx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C5D9B30-9A2C-505E-36D0-05AF0DBAAC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553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19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dark grey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D947A8D9-3FE6-9441-652F-400363E7066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1" y="1122907"/>
            <a:ext cx="6096000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859F9A52-5C59-4371-8261-06DAE7261A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5545800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3B64D18-C45E-440C-9C66-6F1DDAC017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7200"/>
            <a:ext cx="5545137" cy="4825988"/>
          </a:xfrm>
          <a:prstGeom prst="rect">
            <a:avLst/>
          </a:prstGeom>
        </p:spPr>
        <p:txBody>
          <a:bodyPr vert="horz" lIns="0" tIns="0" rIns="216000" bIns="0" rtlCol="0">
            <a:noAutofit/>
          </a:bodyPr>
          <a:lstStyle>
            <a:lvl1pPr>
              <a:defRPr lang="en-US" sz="1400" smtClean="0">
                <a:solidFill>
                  <a:schemeClr val="bg1"/>
                </a:solidFill>
              </a:defRPr>
            </a:lvl1pPr>
            <a:lvl2pPr marL="180975" indent="-180975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80000">
              <a:buClrTx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9138" indent="-180975">
              <a:buClrTx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325044F-30C6-C6D9-84C0-2B925714F5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898989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dark grey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40C8F40-0AE5-4281-9868-B3C794BF6FD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1" y="0"/>
            <a:ext cx="420805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icon to add picture and send picture to back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E5BD221-7593-42BD-A842-EFACB10DAB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44744" y="1126800"/>
            <a:ext cx="6962544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A6C5C35D-CE7D-48CD-A1B2-353FFA53AEE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5407" y="1627200"/>
            <a:ext cx="6962544" cy="48259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400" smtClean="0">
                <a:solidFill>
                  <a:schemeClr val="bg1"/>
                </a:solidFill>
              </a:defRPr>
            </a:lvl1pPr>
            <a:lvl2pPr marL="180975" indent="-180975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80000">
              <a:buClrTx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9138" indent="-180975">
              <a:buClrTx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4" name="Groupe 1">
            <a:extLst>
              <a:ext uri="{FF2B5EF4-FFF2-40B4-BE49-F238E27FC236}">
                <a16:creationId xmlns:a16="http://schemas.microsoft.com/office/drawing/2014/main" id="{DFFA4EA6-56A9-4F86-ABC0-8D91183AD408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C156B522-A0C0-42B8-BB11-65082FE767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43AD94EE-7857-4B4F-8194-A523D32A3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3D8BFFB-83BD-8B73-4F5E-285DBB5281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4744" y="260350"/>
            <a:ext cx="6978640" cy="792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1145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dark grey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8A4E47E-A55F-4490-AD19-D9A415AA57C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icon to add picture and send picture to back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B7C70459-DE10-4F5D-80E6-BAD5BA6626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4032" y="1125538"/>
            <a:ext cx="5047879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tle 4">
            <a:extLst>
              <a:ext uri="{FF2B5EF4-FFF2-40B4-BE49-F238E27FC236}">
                <a16:creationId xmlns:a16="http://schemas.microsoft.com/office/drawing/2014/main" id="{CC59ACB0-A839-47A7-AC17-01C5AED889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4032" y="6907"/>
            <a:ext cx="5047879" cy="11273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A8B886D2-95CB-49D8-B7AE-68DA209E76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4032" y="1627200"/>
            <a:ext cx="5047879" cy="48259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400" smtClean="0">
                <a:solidFill>
                  <a:schemeClr val="bg1"/>
                </a:solidFill>
              </a:defRPr>
            </a:lvl1pPr>
            <a:lvl2pPr marL="180975" indent="-180975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80000">
              <a:buClrTx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9138" indent="-180975">
              <a:buClrTx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6" name="Groupe 1">
            <a:extLst>
              <a:ext uri="{FF2B5EF4-FFF2-40B4-BE49-F238E27FC236}">
                <a16:creationId xmlns:a16="http://schemas.microsoft.com/office/drawing/2014/main" id="{E0AE299F-7351-4397-AACC-823584420C74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2EAF937C-9725-44A1-BB6F-11B4974BA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0B23023F-6948-45C1-A879-0B093E949B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1297071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a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">
            <a:extLst>
              <a:ext uri="{FF2B5EF4-FFF2-40B4-BE49-F238E27FC236}">
                <a16:creationId xmlns:a16="http://schemas.microsoft.com/office/drawing/2014/main" id="{A762397C-7EE3-E752-C3C7-E1EB83F8081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70" y="3676570"/>
            <a:ext cx="5545138" cy="246221"/>
          </a:xfrm>
          <a:prstGeom prst="rect">
            <a:avLst/>
          </a:prstGeom>
        </p:spPr>
        <p:txBody>
          <a:bodyPr wrap="square" lIns="18000" tIns="0" rIns="0" anchor="b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EA67FB30-5217-5F8D-B4ED-781E4E0C89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1343944"/>
            <a:ext cx="5545139" cy="2326627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04E8B402-A28C-9742-E11A-B00843CA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368" y="1051220"/>
            <a:ext cx="5545139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9B60C11E-0343-C498-0BE4-5A5056AAC7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8" y="5997831"/>
            <a:ext cx="4132980" cy="49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6076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Dark gradient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166E472-7F03-4595-8219-0CA22510C30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 lIns="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" name="Group 37">
            <a:extLst>
              <a:ext uri="{FF2B5EF4-FFF2-40B4-BE49-F238E27FC236}">
                <a16:creationId xmlns:a16="http://schemas.microsoft.com/office/drawing/2014/main" id="{249954CA-1B4C-479D-8956-C152CD1D4255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4" name="Freeform 320">
              <a:extLst>
                <a:ext uri="{FF2B5EF4-FFF2-40B4-BE49-F238E27FC236}">
                  <a16:creationId xmlns:a16="http://schemas.microsoft.com/office/drawing/2014/main" id="{86845868-3C42-0B91-A56D-1739F1EE5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" name="Freeform 321">
              <a:extLst>
                <a:ext uri="{FF2B5EF4-FFF2-40B4-BE49-F238E27FC236}">
                  <a16:creationId xmlns:a16="http://schemas.microsoft.com/office/drawing/2014/main" id="{F5D1D048-6CFA-0DCF-5953-84431BE6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EE7D5AB5-F4DB-ECDA-A390-D448906476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07172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Capgemini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7">
            <a:extLst>
              <a:ext uri="{FF2B5EF4-FFF2-40B4-BE49-F238E27FC236}">
                <a16:creationId xmlns:a16="http://schemas.microsoft.com/office/drawing/2014/main" id="{8045CCAE-BD2B-495D-9881-0F2682E7F5DC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9" name="Freeform 320">
              <a:extLst>
                <a:ext uri="{FF2B5EF4-FFF2-40B4-BE49-F238E27FC236}">
                  <a16:creationId xmlns:a16="http://schemas.microsoft.com/office/drawing/2014/main" id="{6A17AE04-922A-4540-99C5-F8D62C3B0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321">
              <a:extLst>
                <a:ext uri="{FF2B5EF4-FFF2-40B4-BE49-F238E27FC236}">
                  <a16:creationId xmlns:a16="http://schemas.microsoft.com/office/drawing/2014/main" id="{DF832F2C-D3A7-4DE5-96EA-08ADD488B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F942043-0ED4-4362-8DCB-F241572195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 lIns="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F4754F-A565-D595-AC8C-9F0E9407F8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289485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dark">
    <p:bg>
      <p:bgPr>
        <a:solidFill>
          <a:srgbClr val="2729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D4C87536-14D9-1C92-1114-2BE764DFE9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9381" y="3837746"/>
            <a:ext cx="8938728" cy="3477505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5ACF1211-C28D-FCA4-B36E-E08F106C8C67}"/>
              </a:ext>
            </a:extLst>
          </p:cNvPr>
          <p:cNvSpPr/>
          <p:nvPr userDrawn="1"/>
        </p:nvSpPr>
        <p:spPr>
          <a:xfrm>
            <a:off x="8514289" y="6053226"/>
            <a:ext cx="3234143" cy="40011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+mn-lt"/>
                <a:cs typeface="Arial"/>
              </a:rPr>
              <a:t>This presentation contains information that may be privileged or confidential and is the property of the Capgemini Group.</a:t>
            </a:r>
          </a:p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+mn-lt"/>
                <a:cs typeface="Arial"/>
              </a:rPr>
              <a:t>Copyright © 2024 Capgemini. All rights reserved.</a:t>
            </a:r>
          </a:p>
        </p:txBody>
      </p:sp>
      <p:pic>
        <p:nvPicPr>
          <p:cNvPr id="5" name="Picture 7">
            <a:hlinkClick r:id="rId3"/>
            <a:extLst>
              <a:ext uri="{FF2B5EF4-FFF2-40B4-BE49-F238E27FC236}">
                <a16:creationId xmlns:a16="http://schemas.microsoft.com/office/drawing/2014/main" id="{2CDC3B80-F2EC-3060-16B1-C27C9213260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4289" y="5571089"/>
            <a:ext cx="333195" cy="333195"/>
          </a:xfrm>
          <a:prstGeom prst="rect">
            <a:avLst/>
          </a:prstGeom>
          <a:noFill/>
        </p:spPr>
      </p:pic>
      <p:pic>
        <p:nvPicPr>
          <p:cNvPr id="6" name="Picture 2">
            <a:hlinkClick r:id="rId5"/>
            <a:extLst>
              <a:ext uri="{FF2B5EF4-FFF2-40B4-BE49-F238E27FC236}">
                <a16:creationId xmlns:a16="http://schemas.microsoft.com/office/drawing/2014/main" id="{9549C6C4-21F0-BDB1-0995-42AE67FB191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06933" y="5571089"/>
            <a:ext cx="333195" cy="333195"/>
          </a:xfrm>
          <a:prstGeom prst="rect">
            <a:avLst/>
          </a:prstGeom>
          <a:noFill/>
        </p:spPr>
      </p:pic>
      <p:pic>
        <p:nvPicPr>
          <p:cNvPr id="7" name="Picture 4">
            <a:hlinkClick r:id="rId7"/>
            <a:extLst>
              <a:ext uri="{FF2B5EF4-FFF2-40B4-BE49-F238E27FC236}">
                <a16:creationId xmlns:a16="http://schemas.microsoft.com/office/drawing/2014/main" id="{F8FBF49B-9FA7-D9FE-4D50-62A789E9353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99577" y="5571089"/>
            <a:ext cx="333195" cy="333195"/>
          </a:xfrm>
          <a:prstGeom prst="rect">
            <a:avLst/>
          </a:prstGeom>
          <a:noFill/>
        </p:spPr>
      </p:pic>
      <p:pic>
        <p:nvPicPr>
          <p:cNvPr id="8" name="Picture 6">
            <a:hlinkClick r:id="rId9"/>
            <a:extLst>
              <a:ext uri="{FF2B5EF4-FFF2-40B4-BE49-F238E27FC236}">
                <a16:creationId xmlns:a16="http://schemas.microsoft.com/office/drawing/2014/main" id="{03EE9493-9DDE-7632-217B-6675CD7127F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92221" y="5571089"/>
            <a:ext cx="333195" cy="333195"/>
          </a:xfrm>
          <a:prstGeom prst="rect">
            <a:avLst/>
          </a:prstGeom>
          <a:noFill/>
        </p:spPr>
      </p:pic>
      <p:pic>
        <p:nvPicPr>
          <p:cNvPr id="9" name="Graphique 8">
            <a:extLst>
              <a:ext uri="{FF2B5EF4-FFF2-40B4-BE49-F238E27FC236}">
                <a16:creationId xmlns:a16="http://schemas.microsoft.com/office/drawing/2014/main" id="{1D1DC3A5-6574-880F-3C98-466E4D4270C9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07988" y="5997831"/>
            <a:ext cx="4132980" cy="49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65525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gradient blue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D4C87536-14D9-1C92-1114-2BE764DFE9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9381" y="3837746"/>
            <a:ext cx="8938728" cy="3477505"/>
          </a:xfrm>
          <a:prstGeom prst="rect">
            <a:avLst/>
          </a:prstGeom>
        </p:spPr>
      </p:pic>
      <p:pic>
        <p:nvPicPr>
          <p:cNvPr id="10" name="Picture 7">
            <a:hlinkClick r:id="rId3"/>
            <a:extLst>
              <a:ext uri="{FF2B5EF4-FFF2-40B4-BE49-F238E27FC236}">
                <a16:creationId xmlns:a16="http://schemas.microsoft.com/office/drawing/2014/main" id="{CC55E37E-23F7-AE09-687B-FF0A64465B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4289" y="5571089"/>
            <a:ext cx="333195" cy="333195"/>
          </a:xfrm>
          <a:prstGeom prst="rect">
            <a:avLst/>
          </a:prstGeom>
          <a:noFill/>
        </p:spPr>
      </p:pic>
      <p:pic>
        <p:nvPicPr>
          <p:cNvPr id="11" name="Picture 2">
            <a:hlinkClick r:id="rId5"/>
            <a:extLst>
              <a:ext uri="{FF2B5EF4-FFF2-40B4-BE49-F238E27FC236}">
                <a16:creationId xmlns:a16="http://schemas.microsoft.com/office/drawing/2014/main" id="{A9A234E1-21A9-0562-AA45-77469E965E9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06933" y="5571089"/>
            <a:ext cx="333195" cy="333195"/>
          </a:xfrm>
          <a:prstGeom prst="rect">
            <a:avLst/>
          </a:prstGeom>
          <a:noFill/>
        </p:spPr>
      </p:pic>
      <p:pic>
        <p:nvPicPr>
          <p:cNvPr id="12" name="Picture 4">
            <a:hlinkClick r:id="rId7"/>
            <a:extLst>
              <a:ext uri="{FF2B5EF4-FFF2-40B4-BE49-F238E27FC236}">
                <a16:creationId xmlns:a16="http://schemas.microsoft.com/office/drawing/2014/main" id="{D3F9462A-9181-7B6F-0C53-88633CD0910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99577" y="5571089"/>
            <a:ext cx="333195" cy="333195"/>
          </a:xfrm>
          <a:prstGeom prst="rect">
            <a:avLst/>
          </a:prstGeom>
          <a:noFill/>
        </p:spPr>
      </p:pic>
      <p:pic>
        <p:nvPicPr>
          <p:cNvPr id="17" name="Picture 6">
            <a:hlinkClick r:id="rId9"/>
            <a:extLst>
              <a:ext uri="{FF2B5EF4-FFF2-40B4-BE49-F238E27FC236}">
                <a16:creationId xmlns:a16="http://schemas.microsoft.com/office/drawing/2014/main" id="{0057A36D-710A-32C2-2461-BFFF579A09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92221" y="5571089"/>
            <a:ext cx="333195" cy="333195"/>
          </a:xfrm>
          <a:prstGeom prst="rect">
            <a:avLst/>
          </a:prstGeom>
          <a:noFill/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5ACF1211-C28D-FCA4-B36E-E08F106C8C67}"/>
              </a:ext>
            </a:extLst>
          </p:cNvPr>
          <p:cNvSpPr/>
          <p:nvPr userDrawn="1"/>
        </p:nvSpPr>
        <p:spPr>
          <a:xfrm>
            <a:off x="8514289" y="6053226"/>
            <a:ext cx="3234143" cy="40011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+mn-lt"/>
                <a:cs typeface="Arial"/>
              </a:rPr>
              <a:t>This presentation contains information that may be privileged or confidential and is the property of the Capgemini Group.</a:t>
            </a:r>
          </a:p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+mn-lt"/>
                <a:cs typeface="Arial"/>
              </a:rPr>
              <a:t>Copyright © 2024 Capgemini. All rights reserved.</a:t>
            </a:r>
          </a:p>
        </p:txBody>
      </p:sp>
      <p:pic>
        <p:nvPicPr>
          <p:cNvPr id="24" name="Graphique 23">
            <a:extLst>
              <a:ext uri="{FF2B5EF4-FFF2-40B4-BE49-F238E27FC236}">
                <a16:creationId xmlns:a16="http://schemas.microsoft.com/office/drawing/2014/main" id="{B3302D79-8ED3-5802-2735-0529CFD2503D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07988" y="5997831"/>
            <a:ext cx="4132980" cy="49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2642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CA46A5DB-4C4F-1F79-F6F4-3019062D13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9381" y="3837746"/>
            <a:ext cx="8938728" cy="3477505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771C8D6D-C61C-2819-3276-89D365F7CAE8}"/>
              </a:ext>
            </a:extLst>
          </p:cNvPr>
          <p:cNvSpPr/>
          <p:nvPr userDrawn="1"/>
        </p:nvSpPr>
        <p:spPr>
          <a:xfrm>
            <a:off x="8554179" y="6053226"/>
            <a:ext cx="3242029" cy="40011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tx1"/>
                </a:solidFill>
                <a:latin typeface="+mn-lt"/>
                <a:cs typeface="Arial"/>
              </a:rPr>
              <a:t>This presentation contains information that may be privileged or confidential and is the property of the Capgemini Group.</a:t>
            </a:r>
          </a:p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tx1"/>
                </a:solidFill>
                <a:latin typeface="+mn-lt"/>
                <a:cs typeface="Arial"/>
              </a:rPr>
              <a:t>Copyright © 2024 Capgemini. All rights reserved.</a:t>
            </a:r>
          </a:p>
        </p:txBody>
      </p:sp>
      <p:pic>
        <p:nvPicPr>
          <p:cNvPr id="26" name="Picture 7">
            <a:hlinkClick r:id="rId3"/>
            <a:extLst>
              <a:ext uri="{FF2B5EF4-FFF2-40B4-BE49-F238E27FC236}">
                <a16:creationId xmlns:a16="http://schemas.microsoft.com/office/drawing/2014/main" id="{23996BED-DA79-7795-E8CC-89B8B4F54B9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22933" y="5569299"/>
            <a:ext cx="333195" cy="333195"/>
          </a:xfrm>
          <a:prstGeom prst="rect">
            <a:avLst/>
          </a:prstGeom>
          <a:noFill/>
        </p:spPr>
      </p:pic>
      <p:pic>
        <p:nvPicPr>
          <p:cNvPr id="27" name="Picture 2">
            <a:hlinkClick r:id="rId6"/>
            <a:extLst>
              <a:ext uri="{FF2B5EF4-FFF2-40B4-BE49-F238E27FC236}">
                <a16:creationId xmlns:a16="http://schemas.microsoft.com/office/drawing/2014/main" id="{41F22088-9EDE-E75E-205B-071BC64768A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12696" y="5569299"/>
            <a:ext cx="333195" cy="333195"/>
          </a:xfrm>
          <a:prstGeom prst="rect">
            <a:avLst/>
          </a:prstGeom>
          <a:noFill/>
        </p:spPr>
      </p:pic>
      <p:pic>
        <p:nvPicPr>
          <p:cNvPr id="28" name="Picture 4">
            <a:hlinkClick r:id="rId9"/>
            <a:extLst>
              <a:ext uri="{FF2B5EF4-FFF2-40B4-BE49-F238E27FC236}">
                <a16:creationId xmlns:a16="http://schemas.microsoft.com/office/drawing/2014/main" id="{4B0CCAD4-0758-D6B9-EFF6-02B94D32DE4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2459" y="5569299"/>
            <a:ext cx="333195" cy="333195"/>
          </a:xfrm>
          <a:prstGeom prst="rect">
            <a:avLst/>
          </a:prstGeom>
          <a:noFill/>
        </p:spPr>
      </p:pic>
      <p:pic>
        <p:nvPicPr>
          <p:cNvPr id="30" name="Picture 6">
            <a:hlinkClick r:id="rId12"/>
            <a:extLst>
              <a:ext uri="{FF2B5EF4-FFF2-40B4-BE49-F238E27FC236}">
                <a16:creationId xmlns:a16="http://schemas.microsoft.com/office/drawing/2014/main" id="{97D8A9F7-9109-48D0-0781-197117BF80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92221" y="5569299"/>
            <a:ext cx="333195" cy="333195"/>
          </a:xfrm>
          <a:prstGeom prst="rect">
            <a:avLst/>
          </a:prstGeom>
          <a:noFill/>
        </p:spPr>
      </p:pic>
      <p:pic>
        <p:nvPicPr>
          <p:cNvPr id="23" name="Image 10">
            <a:extLst>
              <a:ext uri="{FF2B5EF4-FFF2-40B4-BE49-F238E27FC236}">
                <a16:creationId xmlns:a16="http://schemas.microsoft.com/office/drawing/2014/main" id="{9988818E-7FFB-598F-7945-3D2B2690DB25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80" y="5625129"/>
            <a:ext cx="4932000" cy="1214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2346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s slide 3a">
    <p:bg>
      <p:bgPr>
        <a:gradFill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C58B55F-3EAC-C6DA-30E9-A9EAE34D71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7038" y="2320211"/>
            <a:ext cx="11356975" cy="221599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0" b="0" cap="none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9F46E0C6-84F8-B6DE-DD0D-236889236F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8" y="5997831"/>
            <a:ext cx="4132980" cy="49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2640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b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C58B55F-3EAC-C6DA-30E9-A9EAE34D71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7038" y="2320211"/>
            <a:ext cx="11356975" cy="2215991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0" b="0" cap="none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pic>
        <p:nvPicPr>
          <p:cNvPr id="5" name="Graphique 4">
            <a:extLst>
              <a:ext uri="{FF2B5EF4-FFF2-40B4-BE49-F238E27FC236}">
                <a16:creationId xmlns:a16="http://schemas.microsoft.com/office/drawing/2014/main" id="{6F93D9CF-42B1-C606-123C-BAA623C00A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8" y="5997831"/>
            <a:ext cx="4132980" cy="49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0991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59896" y="1916832"/>
            <a:ext cx="7032104" cy="4941168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609034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609034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1053956"/>
            <a:ext cx="4609034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25" name="Image 10">
            <a:extLst>
              <a:ext uri="{FF2B5EF4-FFF2-40B4-BE49-F238E27FC236}">
                <a16:creationId xmlns:a16="http://schemas.microsoft.com/office/drawing/2014/main" id="{4022DFE6-72CF-45D8-00A8-1DFBE6C2FA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80" y="5625129"/>
            <a:ext cx="4932000" cy="1214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2911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59896" y="1916832"/>
            <a:ext cx="7032104" cy="3528392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609034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609034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368" y="1062117"/>
            <a:ext cx="4609034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r-FR" dirty="0"/>
              <a:t>Modifiez le style du titre</a:t>
            </a:r>
            <a:endParaRPr lang="en-GB" dirty="0"/>
          </a:p>
        </p:txBody>
      </p:sp>
      <p:pic>
        <p:nvPicPr>
          <p:cNvPr id="24" name="Image 10">
            <a:extLst>
              <a:ext uri="{FF2B5EF4-FFF2-40B4-BE49-F238E27FC236}">
                <a16:creationId xmlns:a16="http://schemas.microsoft.com/office/drawing/2014/main" id="{D5E233C1-D847-D68C-1C4F-091DAD0AD4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80" y="5625129"/>
            <a:ext cx="4932000" cy="1214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1426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b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916832"/>
            <a:ext cx="3816424" cy="4941168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597606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597606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368" y="1053032"/>
            <a:ext cx="4597606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pic>
        <p:nvPicPr>
          <p:cNvPr id="24" name="Image 10">
            <a:extLst>
              <a:ext uri="{FF2B5EF4-FFF2-40B4-BE49-F238E27FC236}">
                <a16:creationId xmlns:a16="http://schemas.microsoft.com/office/drawing/2014/main" id="{BB1C544D-54FE-9A53-98F0-85B0D7A86E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80" y="5625129"/>
            <a:ext cx="4932000" cy="1214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0257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png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ID" hidden="1">
            <a:extLst>
              <a:ext uri="{FF2B5EF4-FFF2-40B4-BE49-F238E27FC236}">
                <a16:creationId xmlns:a16="http://schemas.microsoft.com/office/drawing/2014/main" id="{A27D0679-8D96-1186-A961-BDC17B525A6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971" y="388938"/>
            <a:ext cx="11369040" cy="6067248"/>
          </a:xfrm>
          <a:prstGeom prst="rect">
            <a:avLst/>
          </a:prstGeom>
        </p:spPr>
      </p:pic>
      <p:sp>
        <p:nvSpPr>
          <p:cNvPr id="4" name="Text Placeholder 1"/>
          <p:cNvSpPr>
            <a:spLocks noGrp="1"/>
          </p:cNvSpPr>
          <p:nvPr>
            <p:ph type="body" idx="1"/>
          </p:nvPr>
        </p:nvSpPr>
        <p:spPr>
          <a:xfrm>
            <a:off x="407988" y="1628800"/>
            <a:ext cx="11369040" cy="48290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Enter </a:t>
            </a:r>
            <a:r>
              <a:rPr lang="fr-FR" dirty="0" err="1"/>
              <a:t>your</a:t>
            </a:r>
            <a:r>
              <a:rPr lang="fr-FR" dirty="0"/>
              <a:t> content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</p:txBody>
      </p:sp>
      <p:grpSp>
        <p:nvGrpSpPr>
          <p:cNvPr id="31" name="Groupe 1">
            <a:extLst>
              <a:ext uri="{FF2B5EF4-FFF2-40B4-BE49-F238E27FC236}">
                <a16:creationId xmlns:a16="http://schemas.microsoft.com/office/drawing/2014/main" id="{F31688C0-3AAB-457C-86FA-4177A059CF79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id="{0DF4B7FE-AA65-4E55-B964-75A3DEE12D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08DB13D7-F3B3-4CCC-9572-7C835EA669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5" name="Title Placeholder 4">
            <a:extLst>
              <a:ext uri="{FF2B5EF4-FFF2-40B4-BE49-F238E27FC236}">
                <a16:creationId xmlns:a16="http://schemas.microsoft.com/office/drawing/2014/main" id="{D28F27D4-FFE2-4FAB-BA1B-9D013846C4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71" y="260350"/>
            <a:ext cx="11008413" cy="7921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dirty="0"/>
              <a:t>Modifiez le style du titre</a:t>
            </a:r>
            <a:endParaRPr lang="de-DE" dirty="0"/>
          </a:p>
        </p:txBody>
      </p:sp>
      <p:sp>
        <p:nvSpPr>
          <p:cNvPr id="20" name="Stickerbox" hidden="1">
            <a:extLst>
              <a:ext uri="{FF2B5EF4-FFF2-40B4-BE49-F238E27FC236}">
                <a16:creationId xmlns:a16="http://schemas.microsoft.com/office/drawing/2014/main" id="{D03A9799-ACDC-4925-8EE1-5C65CCCBD0FA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0979205" y="1068490"/>
            <a:ext cx="804808" cy="402775"/>
          </a:xfrm>
          <a:prstGeom prst="rect">
            <a:avLst/>
          </a:prstGeom>
          <a:solidFill>
            <a:schemeClr val="accent2"/>
          </a:solidFill>
          <a:ln w="10795">
            <a:noFill/>
            <a:round/>
            <a:headEnd/>
            <a:tailEnd/>
          </a:ln>
          <a:effectLst/>
        </p:spPr>
        <p:txBody>
          <a:bodyPr vert="horz" wrap="none" lIns="108000" tIns="108000" rIns="108000" bIns="10800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all" spc="0" normalizeH="0" baseline="0" noProof="0" dirty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ticker</a:t>
            </a:r>
          </a:p>
        </p:txBody>
      </p:sp>
      <p:sp>
        <p:nvSpPr>
          <p:cNvPr id="22" name="CapgeminiBox" hidden="1">
            <a:extLst>
              <a:ext uri="{FF2B5EF4-FFF2-40B4-BE49-F238E27FC236}">
                <a16:creationId xmlns:a16="http://schemas.microsoft.com/office/drawing/2014/main" id="{7C293A1E-B461-4AFE-976D-6EE38B2AFEB4}"/>
              </a:ext>
            </a:extLst>
          </p:cNvPr>
          <p:cNvSpPr txBox="1">
            <a:spLocks/>
          </p:cNvSpPr>
          <p:nvPr userDrawn="1"/>
        </p:nvSpPr>
        <p:spPr>
          <a:xfrm>
            <a:off x="9592" y="0"/>
            <a:ext cx="1837661" cy="260350"/>
          </a:xfrm>
          <a:prstGeom prst="rect">
            <a:avLst/>
          </a:prstGeom>
        </p:spPr>
        <p:txBody>
          <a:bodyPr vert="horz" lIns="0" tIns="0" rIns="1800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Verdana" panose="020B0604030504040204" pitchFamily="34" charset="0"/>
              <a:buChar char="‒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Capgemini v10.0</a:t>
            </a:r>
          </a:p>
        </p:txBody>
      </p:sp>
      <p:sp>
        <p:nvSpPr>
          <p:cNvPr id="29" name="FootnoteAndSource" hidden="1">
            <a:extLst>
              <a:ext uri="{FF2B5EF4-FFF2-40B4-BE49-F238E27FC236}">
                <a16:creationId xmlns:a16="http://schemas.microsoft.com/office/drawing/2014/main" id="{96E9BC24-418C-4CE4-8E81-3AF9AB04DEAA}"/>
              </a:ext>
            </a:extLst>
          </p:cNvPr>
          <p:cNvSpPr txBox="1"/>
          <p:nvPr userDrawn="1"/>
        </p:nvSpPr>
        <p:spPr>
          <a:xfrm>
            <a:off x="398738" y="6304130"/>
            <a:ext cx="11340000" cy="162096"/>
          </a:xfrm>
          <a:prstGeom prst="rect">
            <a:avLst/>
          </a:prstGeom>
          <a:noFill/>
        </p:spPr>
        <p:txBody>
          <a:bodyPr vert="horz" wrap="square" lIns="0" tIns="25400" rIns="0" bIns="25400" rtlCol="0" anchor="b" anchorCtr="0">
            <a:spAutoFit/>
          </a:bodyPr>
          <a:lstStyle>
            <a:defPPr>
              <a:defRPr lang="pt-PT"/>
            </a:defPPr>
            <a:lvl1pPr marL="429768" indent="-429768">
              <a:lnSpc>
                <a:spcPct val="90000"/>
              </a:lnSpc>
              <a:tabLst>
                <a:tab pos="347472" algn="r"/>
              </a:tabLst>
              <a:defRPr sz="800"/>
            </a:lvl1pPr>
          </a:lstStyle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/>
              <a:t>	Source:	Source Text</a:t>
            </a:r>
          </a:p>
        </p:txBody>
      </p:sp>
      <p:sp>
        <p:nvSpPr>
          <p:cNvPr id="3" name="Rectangle 27">
            <a:extLst>
              <a:ext uri="{FF2B5EF4-FFF2-40B4-BE49-F238E27FC236}">
                <a16:creationId xmlns:a16="http://schemas.microsoft.com/office/drawing/2014/main" id="{62086BA9-1591-C6CD-E573-A5F8961683B1}"/>
              </a:ext>
            </a:extLst>
          </p:cNvPr>
          <p:cNvSpPr/>
          <p:nvPr userDrawn="1"/>
        </p:nvSpPr>
        <p:spPr>
          <a:xfrm>
            <a:off x="406833" y="6517871"/>
            <a:ext cx="341084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0" dirty="0">
                <a:solidFill>
                  <a:schemeClr val="bg1">
                    <a:lumMod val="65000"/>
                  </a:schemeClr>
                </a:solidFill>
                <a:latin typeface="+mn-lt"/>
                <a:cs typeface="Arial" panose="020B0604020202020204" pitchFamily="34" charset="0"/>
              </a:rPr>
              <a:t>Presentation Title  |  Author  |  Date</a:t>
            </a:r>
          </a:p>
        </p:txBody>
      </p:sp>
      <p:sp>
        <p:nvSpPr>
          <p:cNvPr id="6" name="Rectangle 27">
            <a:extLst>
              <a:ext uri="{FF2B5EF4-FFF2-40B4-BE49-F238E27FC236}">
                <a16:creationId xmlns:a16="http://schemas.microsoft.com/office/drawing/2014/main" id="{C7A3A5DA-5BBD-64D1-6DE2-E0F6859C58F2}"/>
              </a:ext>
            </a:extLst>
          </p:cNvPr>
          <p:cNvSpPr/>
          <p:nvPr userDrawn="1"/>
        </p:nvSpPr>
        <p:spPr>
          <a:xfrm>
            <a:off x="7131820" y="6517871"/>
            <a:ext cx="4532162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700" dirty="0">
                <a:solidFill>
                  <a:schemeClr val="bg1">
                    <a:lumMod val="65000"/>
                  </a:schemeClr>
                </a:solidFill>
                <a:latin typeface="+mn-lt"/>
                <a:cs typeface="Arial" panose="020B0604020202020204" pitchFamily="34" charset="0"/>
              </a:rPr>
              <a:t>Company Confidential © Capgemini 2024. All rights reserved  |</a:t>
            </a:r>
          </a:p>
        </p:txBody>
      </p:sp>
      <p:sp>
        <p:nvSpPr>
          <p:cNvPr id="7" name="Rectangle 43">
            <a:extLst>
              <a:ext uri="{FF2B5EF4-FFF2-40B4-BE49-F238E27FC236}">
                <a16:creationId xmlns:a16="http://schemas.microsoft.com/office/drawing/2014/main" id="{5A64C6D2-B9B0-18AF-749A-15AAED7E4993}"/>
              </a:ext>
            </a:extLst>
          </p:cNvPr>
          <p:cNvSpPr/>
          <p:nvPr userDrawn="1"/>
        </p:nvSpPr>
        <p:spPr>
          <a:xfrm>
            <a:off x="1164887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latin typeface="+mn-lt"/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>
                  <a:lumMod val="6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9133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5" r:id="rId1"/>
    <p:sldLayoutId id="2147484177" r:id="rId2"/>
    <p:sldLayoutId id="2147484198" r:id="rId3"/>
    <p:sldLayoutId id="2147484119" r:id="rId4"/>
    <p:sldLayoutId id="2147484199" r:id="rId5"/>
    <p:sldLayoutId id="2147484162" r:id="rId6"/>
    <p:sldLayoutId id="2147484169" r:id="rId7"/>
    <p:sldLayoutId id="2147484179" r:id="rId8"/>
    <p:sldLayoutId id="2147484180" r:id="rId9"/>
    <p:sldLayoutId id="2147484181" r:id="rId10"/>
    <p:sldLayoutId id="2147484184" r:id="rId11"/>
    <p:sldLayoutId id="2147484185" r:id="rId12"/>
    <p:sldLayoutId id="2147484186" r:id="rId13"/>
    <p:sldLayoutId id="2147484187" r:id="rId14"/>
    <p:sldLayoutId id="2147484124" r:id="rId15"/>
    <p:sldLayoutId id="2147484200" r:id="rId16"/>
    <p:sldLayoutId id="2147484194" r:id="rId17"/>
    <p:sldLayoutId id="2147484159" r:id="rId18"/>
    <p:sldLayoutId id="2147484125" r:id="rId19"/>
    <p:sldLayoutId id="2147484126" r:id="rId20"/>
    <p:sldLayoutId id="2147484127" r:id="rId21"/>
    <p:sldLayoutId id="2147484128" r:id="rId22"/>
    <p:sldLayoutId id="2147484129" r:id="rId23"/>
    <p:sldLayoutId id="2147484130" r:id="rId24"/>
    <p:sldLayoutId id="2147484131" r:id="rId25"/>
    <p:sldLayoutId id="2147484132" r:id="rId26"/>
    <p:sldLayoutId id="2147484133" r:id="rId27"/>
    <p:sldLayoutId id="2147484134" r:id="rId28"/>
    <p:sldLayoutId id="2147484135" r:id="rId29"/>
    <p:sldLayoutId id="2147484136" r:id="rId30"/>
    <p:sldLayoutId id="2147484137" r:id="rId31"/>
    <p:sldLayoutId id="2147484138" r:id="rId32"/>
    <p:sldLayoutId id="2147484195" r:id="rId33"/>
    <p:sldLayoutId id="2147484144" r:id="rId34"/>
    <p:sldLayoutId id="2147484197" r:id="rId35"/>
    <p:sldLayoutId id="2147484139" r:id="rId36"/>
    <p:sldLayoutId id="2147484140" r:id="rId37"/>
    <p:sldLayoutId id="2147484141" r:id="rId38"/>
    <p:sldLayoutId id="2147484142" r:id="rId39"/>
    <p:sldLayoutId id="2147484143" r:id="rId40"/>
    <p:sldLayoutId id="2147484145" r:id="rId41"/>
    <p:sldLayoutId id="2147484156" r:id="rId42"/>
    <p:sldLayoutId id="2147484201" r:id="rId43"/>
    <p:sldLayoutId id="2147484160" r:id="rId44"/>
  </p:sldLayoutIdLst>
  <p:hf sldNum="0" hdr="0" ftr="0" dt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800" b="0" i="0" u="none" strike="noStrike" kern="1200" cap="none" spc="0" normalizeH="0" baseline="0" noProof="0" dirty="0">
          <a:ln>
            <a:noFill/>
          </a:ln>
          <a:solidFill>
            <a:schemeClr val="tx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lnSpc>
          <a:spcPct val="100000"/>
        </a:lnSpc>
        <a:spcBef>
          <a:spcPts val="600"/>
        </a:spcBef>
        <a:buClrTx/>
        <a:buFont typeface="Verdana" panose="020B0604030504040204" pitchFamily="34" charset="0"/>
        <a:buChar char="‒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0975" algn="l" defTabSz="9144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8" orient="horz" pos="663" userDrawn="1">
          <p15:clr>
            <a:srgbClr val="F26B43"/>
          </p15:clr>
        </p15:guide>
        <p15:guide id="19" orient="horz" pos="4320" userDrawn="1">
          <p15:clr>
            <a:srgbClr val="F26B43"/>
          </p15:clr>
        </p15:guide>
        <p15:guide id="20" pos="257" userDrawn="1">
          <p15:clr>
            <a:srgbClr val="F26B43"/>
          </p15:clr>
        </p15:guide>
        <p15:guide id="21" pos="3840">
          <p15:clr>
            <a:srgbClr val="F26B43"/>
          </p15:clr>
        </p15:guide>
        <p15:guide id="22" pos="7423" userDrawn="1">
          <p15:clr>
            <a:srgbClr val="F26B43"/>
          </p15:clr>
        </p15:guide>
        <p15:guide id="23" orient="horz" pos="255" userDrawn="1">
          <p15:clr>
            <a:srgbClr val="F26B43"/>
          </p15:clr>
        </p15:guide>
        <p15:guide id="24" orient="horz" pos="1026">
          <p15:clr>
            <a:srgbClr val="F26B43"/>
          </p15:clr>
        </p15:guide>
        <p15:guide id="26" orient="horz" pos="4065" userDrawn="1">
          <p15:clr>
            <a:srgbClr val="F26B43"/>
          </p15:clr>
        </p15:guide>
        <p15:guide id="27" orient="horz" pos="89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6">
            <a:extLst>
              <a:ext uri="{FF2B5EF4-FFF2-40B4-BE49-F238E27FC236}">
                <a16:creationId xmlns:a16="http://schemas.microsoft.com/office/drawing/2014/main" id="{3425ECA8-B8E1-57A4-1556-C42AB7F788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7808" y="692696"/>
            <a:ext cx="8281358" cy="6858000"/>
          </a:xfrm>
          <a:prstGeom prst="rect">
            <a:avLst/>
          </a:prstGeom>
        </p:spPr>
      </p:pic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1764FE9C-DDC0-AD7A-4A0D-EE34FF3A533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17512" y="1700808"/>
            <a:ext cx="11356975" cy="2215991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st Case </a:t>
            </a:r>
            <a:b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Generations</a:t>
            </a:r>
          </a:p>
        </p:txBody>
      </p:sp>
    </p:spTree>
    <p:extLst>
      <p:ext uri="{BB962C8B-B14F-4D97-AF65-F5344CB8AC3E}">
        <p14:creationId xmlns:p14="http://schemas.microsoft.com/office/powerpoint/2010/main" val="20057883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412959-B2D8-1E6E-8580-E1EC05906D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ECD921C0-49DD-57CB-159E-458DF4DF4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332656"/>
            <a:ext cx="11008413" cy="792163"/>
          </a:xfrm>
        </p:spPr>
        <p:txBody>
          <a:bodyPr/>
          <a:lstStyle/>
          <a:p>
            <a:pPr algn="l">
              <a:spcAft>
                <a:spcPts val="1500"/>
              </a:spcAft>
            </a:pPr>
            <a:r>
              <a:rPr lang="en-IN" b="0" i="0" dirty="0">
                <a:solidFill>
                  <a:srgbClr val="2C3E50"/>
                </a:solidFill>
                <a:effectLst/>
                <a:latin typeface="Times New Roman" panose="02020603050405020304" pitchFamily="18" charset="0"/>
              </a:rPr>
              <a:t>3.1: Dependency Analysis System</a:t>
            </a:r>
            <a:endParaRPr lang="en-US" sz="4000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CE9C17B-5377-6934-4315-FAAE9D07265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3261" y="1988840"/>
            <a:ext cx="10137235" cy="3168352"/>
          </a:xfrm>
        </p:spPr>
        <p:txBody>
          <a:bodyPr/>
          <a:lstStyle/>
          <a:p>
            <a:pPr algn="l">
              <a:spcBef>
                <a:spcPts val="1125"/>
              </a:spcBef>
              <a:spcAft>
                <a:spcPts val="1125"/>
              </a:spcAft>
            </a:pPr>
            <a:r>
              <a:rPr lang="en-IN" sz="2800" b="0" i="0" dirty="0">
                <a:solidFill>
                  <a:srgbClr val="34495E"/>
                </a:solidFill>
                <a:effectLst/>
                <a:latin typeface="Times New Roman" panose="02020603050405020304" pitchFamily="18" charset="0"/>
              </a:rPr>
              <a:t>Matrix-Based Analysis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IN" sz="2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Adjacency Matrix for Dependencies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IN" sz="2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Transitive Closure Computation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IN" sz="2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Cycle Detection Algorithm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IN" sz="2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Example Matrix Structure: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IN" sz="2800" b="0" i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[0 1 0] File A [0 0 1] File B [1 0 0] File C</a:t>
            </a:r>
          </a:p>
        </p:txBody>
      </p:sp>
    </p:spTree>
    <p:extLst>
      <p:ext uri="{BB962C8B-B14F-4D97-AF65-F5344CB8AC3E}">
        <p14:creationId xmlns:p14="http://schemas.microsoft.com/office/powerpoint/2010/main" val="42397220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70D20A-A2F2-232D-1C63-8241560E6B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B7889986-8D58-C58D-4CBA-87B805250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332656"/>
            <a:ext cx="11008413" cy="792163"/>
          </a:xfrm>
        </p:spPr>
        <p:txBody>
          <a:bodyPr/>
          <a:lstStyle/>
          <a:p>
            <a:pPr algn="l">
              <a:spcAft>
                <a:spcPts val="1500"/>
              </a:spcAft>
            </a:pPr>
            <a:r>
              <a:rPr lang="en-IN" b="0" i="0" dirty="0">
                <a:solidFill>
                  <a:srgbClr val="2C3E50"/>
                </a:solidFill>
                <a:effectLst/>
                <a:latin typeface="Times New Roman" panose="02020603050405020304" pitchFamily="18" charset="0"/>
              </a:rPr>
              <a:t>Advanced Dependency Features</a:t>
            </a:r>
            <a:endParaRPr lang="en-US" sz="4000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3AC0B20-960F-CAC5-68F7-2A960E6DFB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3261" y="1988840"/>
            <a:ext cx="10137235" cy="3168352"/>
          </a:xfrm>
        </p:spPr>
        <p:txBody>
          <a:bodyPr/>
          <a:lstStyle/>
          <a:p>
            <a:pPr algn="l">
              <a:spcBef>
                <a:spcPts val="1125"/>
              </a:spcBef>
              <a:spcAft>
                <a:spcPts val="1125"/>
              </a:spcAft>
            </a:pPr>
            <a:r>
              <a:rPr lang="en-US" sz="1800" b="0" i="0" dirty="0">
                <a:solidFill>
                  <a:srgbClr val="34495E"/>
                </a:solidFill>
                <a:effectLst/>
                <a:latin typeface="Times New Roman" panose="02020603050405020304" pitchFamily="18" charset="0"/>
              </a:rPr>
              <a:t>Dependency Resolution</a:t>
            </a:r>
          </a:p>
          <a:p>
            <a:pPr marL="285750" indent="-285750"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Circular Dependency Handling</a:t>
            </a:r>
          </a:p>
          <a:p>
            <a:pPr marL="285750" indent="-285750"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Import Graph Analysis</a:t>
            </a:r>
          </a:p>
          <a:p>
            <a:pPr marL="285750" indent="-285750"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Function Call Tracking</a:t>
            </a:r>
          </a:p>
          <a:p>
            <a:pPr algn="l">
              <a:spcBef>
                <a:spcPts val="1125"/>
              </a:spcBef>
              <a:spcAft>
                <a:spcPts val="1125"/>
              </a:spcAft>
            </a:pPr>
            <a:r>
              <a:rPr lang="en-US" sz="1800" b="0" i="0" dirty="0">
                <a:solidFill>
                  <a:srgbClr val="34495E"/>
                </a:solidFill>
                <a:effectLst/>
                <a:latin typeface="Times New Roman" panose="02020603050405020304" pitchFamily="18" charset="0"/>
              </a:rPr>
              <a:t>Optimization Features</a:t>
            </a:r>
          </a:p>
          <a:p>
            <a:pPr marL="285750" indent="-285750"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Minimal Build Set Determination</a:t>
            </a:r>
          </a:p>
          <a:p>
            <a:pPr marL="285750" indent="-285750"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Parallel Test Execution Planning</a:t>
            </a:r>
          </a:p>
          <a:p>
            <a:pPr marL="285750" indent="-285750"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Incremental Build Strategy</a:t>
            </a:r>
          </a:p>
        </p:txBody>
      </p:sp>
    </p:spTree>
    <p:extLst>
      <p:ext uri="{BB962C8B-B14F-4D97-AF65-F5344CB8AC3E}">
        <p14:creationId xmlns:p14="http://schemas.microsoft.com/office/powerpoint/2010/main" val="29930423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55AB45-D6E7-D780-290B-0C6BEE1F21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FA7A895B-8DE9-950B-B743-B514E9D8ED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332656"/>
            <a:ext cx="11008413" cy="792163"/>
          </a:xfrm>
        </p:spPr>
        <p:txBody>
          <a:bodyPr/>
          <a:lstStyle/>
          <a:p>
            <a:pPr algn="l">
              <a:spcAft>
                <a:spcPts val="1500"/>
              </a:spcAft>
            </a:pPr>
            <a:r>
              <a:rPr lang="en-IN" b="0" i="0" dirty="0">
                <a:solidFill>
                  <a:srgbClr val="2C3E50"/>
                </a:solidFill>
                <a:effectLst/>
                <a:latin typeface="Times New Roman" panose="02020603050405020304" pitchFamily="18" charset="0"/>
              </a:rPr>
              <a:t>Memory Systems Architecture</a:t>
            </a:r>
            <a:endParaRPr lang="en-US" sz="4000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56A15F21-FBA5-389E-DE53-4F366C5A8F5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3261" y="1988840"/>
            <a:ext cx="10137235" cy="3168352"/>
          </a:xfrm>
        </p:spPr>
        <p:txBody>
          <a:bodyPr/>
          <a:lstStyle/>
          <a:p>
            <a:pPr algn="l">
              <a:spcBef>
                <a:spcPts val="1125"/>
              </a:spcBef>
              <a:spcAft>
                <a:spcPts val="1125"/>
              </a:spcAft>
            </a:pPr>
            <a:r>
              <a:rPr lang="en-US" sz="2400" b="0" i="0" dirty="0">
                <a:solidFill>
                  <a:srgbClr val="34495E"/>
                </a:solidFill>
                <a:effectLst/>
                <a:latin typeface="Times New Roman" panose="02020603050405020304" pitchFamily="18" charset="0"/>
              </a:rPr>
              <a:t>Memory Types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US" sz="24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Conversation Buffer Memory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US" sz="2400" b="0" i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- Full interaction history - Detailed context tracking - Pattern extraction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US" sz="24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Summary Memory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US" sz="2400" b="0" i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- Condensed context - Key pattern storage - Optimized retrieval</a:t>
            </a:r>
          </a:p>
        </p:txBody>
      </p:sp>
    </p:spTree>
    <p:extLst>
      <p:ext uri="{BB962C8B-B14F-4D97-AF65-F5344CB8AC3E}">
        <p14:creationId xmlns:p14="http://schemas.microsoft.com/office/powerpoint/2010/main" val="15272946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0EB849-FE4A-84DF-A2A3-531D78FE2C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DA922CDE-0FF4-DD78-EAF1-0464612D21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332656"/>
            <a:ext cx="11008413" cy="792163"/>
          </a:xfrm>
        </p:spPr>
        <p:txBody>
          <a:bodyPr/>
          <a:lstStyle/>
          <a:p>
            <a:pPr algn="l">
              <a:spcAft>
                <a:spcPts val="1500"/>
              </a:spcAft>
            </a:pPr>
            <a:r>
              <a:rPr lang="en-IN" b="0" i="0" dirty="0">
                <a:solidFill>
                  <a:srgbClr val="2C3E50"/>
                </a:solidFill>
                <a:effectLst/>
                <a:latin typeface="Times New Roman" panose="02020603050405020304" pitchFamily="18" charset="0"/>
              </a:rPr>
              <a:t>Performance Analysis System</a:t>
            </a:r>
            <a:endParaRPr lang="en-US" sz="4000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9897C5A-E735-40F9-2B08-93060D96495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3261" y="1988840"/>
            <a:ext cx="10137235" cy="3168352"/>
          </a:xfrm>
        </p:spPr>
        <p:txBody>
          <a:bodyPr/>
          <a:lstStyle/>
          <a:p>
            <a:pPr algn="l">
              <a:spcBef>
                <a:spcPts val="1125"/>
              </a:spcBef>
              <a:spcAft>
                <a:spcPts val="1125"/>
              </a:spcAft>
            </a:pPr>
            <a:r>
              <a:rPr lang="en-US" sz="1600" b="0" i="0" dirty="0">
                <a:solidFill>
                  <a:srgbClr val="34495E"/>
                </a:solidFill>
                <a:effectLst/>
                <a:latin typeface="Times New Roman" panose="02020603050405020304" pitchFamily="18" charset="0"/>
              </a:rPr>
              <a:t>Metrics Tracking</a:t>
            </a:r>
          </a:p>
          <a:p>
            <a:pPr marL="285750" indent="-285750"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Success Rate Analysis</a:t>
            </a:r>
          </a:p>
          <a:p>
            <a:pPr marL="285750" indent="-285750"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Memory Usage Optimization</a:t>
            </a:r>
          </a:p>
          <a:p>
            <a:pPr marL="285750" indent="-285750"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Generation Speed Metrics</a:t>
            </a:r>
          </a:p>
          <a:p>
            <a:pPr algn="l">
              <a:spcBef>
                <a:spcPts val="1125"/>
              </a:spcBef>
              <a:spcAft>
                <a:spcPts val="1125"/>
              </a:spcAft>
            </a:pPr>
            <a:r>
              <a:rPr lang="en-US" sz="1600" b="0" i="0" dirty="0">
                <a:solidFill>
                  <a:srgbClr val="34495E"/>
                </a:solidFill>
                <a:effectLst/>
                <a:latin typeface="Times New Roman" panose="02020603050405020304" pitchFamily="18" charset="0"/>
              </a:rPr>
              <a:t>Comparative Analysis</a:t>
            </a:r>
          </a:p>
          <a:p>
            <a:pPr marL="285750" indent="-285750"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Key Performance Indicators:</a:t>
            </a:r>
          </a:p>
          <a:p>
            <a:pPr marL="285750" indent="-285750"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Test Coverage Percentage</a:t>
            </a:r>
          </a:p>
          <a:p>
            <a:pPr marL="285750" indent="-285750"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Generation Time per Test</a:t>
            </a:r>
          </a:p>
          <a:p>
            <a:pPr marL="285750" indent="-285750"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Memory Efficiency Ratio</a:t>
            </a:r>
          </a:p>
          <a:p>
            <a:pPr marL="285750" indent="-285750"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Error Resolution Rate</a:t>
            </a:r>
          </a:p>
        </p:txBody>
      </p:sp>
    </p:spTree>
    <p:extLst>
      <p:ext uri="{BB962C8B-B14F-4D97-AF65-F5344CB8AC3E}">
        <p14:creationId xmlns:p14="http://schemas.microsoft.com/office/powerpoint/2010/main" val="17950293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diagram of a computer&#10;&#10;Description automatically generated">
            <a:extLst>
              <a:ext uri="{FF2B5EF4-FFF2-40B4-BE49-F238E27FC236}">
                <a16:creationId xmlns:a16="http://schemas.microsoft.com/office/drawing/2014/main" id="{871E59C8-3BAC-1148-2277-9BFE3C6251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1424" y="0"/>
            <a:ext cx="10081119" cy="6669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833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3496F7C-D8E7-436B-8CF8-E9D32C96CB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079" y="408171"/>
            <a:ext cx="11008413" cy="792163"/>
          </a:xfrm>
        </p:spPr>
        <p:txBody>
          <a:bodyPr/>
          <a:lstStyle/>
          <a:p>
            <a:pPr algn="ctr"/>
            <a:r>
              <a:rPr lang="en-US" sz="4000" dirty="0"/>
              <a:t>Overview</a:t>
            </a:r>
            <a:endParaRPr lang="en-IN" sz="40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FB45D-FB85-03F3-1C23-E6FE45BB01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4108"/>
            <a:ext cx="11369042" cy="403714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FF0000"/>
                </a:solidFill>
              </a:rPr>
              <a:t>New Changes Introduced</a:t>
            </a: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FF000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FF000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FF0000"/>
                </a:solidFill>
              </a:rPr>
              <a:t>Comparison Report</a:t>
            </a:r>
          </a:p>
        </p:txBody>
      </p:sp>
    </p:spTree>
    <p:extLst>
      <p:ext uri="{BB962C8B-B14F-4D97-AF65-F5344CB8AC3E}">
        <p14:creationId xmlns:p14="http://schemas.microsoft.com/office/powerpoint/2010/main" val="19830519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DEE3ECFC-9425-465A-81B6-7AC41528CC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Improved the .md files creatio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2BE3A3C-4E23-4827-91AF-129C8DA0CD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3261" y="1988840"/>
            <a:ext cx="5681029" cy="3317060"/>
          </a:xfrm>
        </p:spPr>
        <p:txBody>
          <a:bodyPr/>
          <a:lstStyle/>
          <a:p>
            <a:r>
              <a:rPr lang="en-US" sz="2800" dirty="0"/>
              <a:t>Now all .md files are being created in same format.</a:t>
            </a:r>
          </a:p>
          <a:p>
            <a:endParaRPr lang="en-US" sz="2800" dirty="0"/>
          </a:p>
          <a:p>
            <a:r>
              <a:rPr lang="en-US" sz="2800" dirty="0"/>
              <a:t>Formatting was made consistent using a sample .md file created manually and then passing it to the prompt</a:t>
            </a:r>
          </a:p>
        </p:txBody>
      </p:sp>
    </p:spTree>
    <p:extLst>
      <p:ext uri="{BB962C8B-B14F-4D97-AF65-F5344CB8AC3E}">
        <p14:creationId xmlns:p14="http://schemas.microsoft.com/office/powerpoint/2010/main" val="33782030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C7A278-D0A5-4B6D-710F-D8D148734B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9FCBEE6D-E526-9747-004E-A4F441C8CF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Vector Database Storag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156392C-F03E-4C9B-4B48-2077D273E4D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3261" y="1988840"/>
            <a:ext cx="5681029" cy="3317060"/>
          </a:xfrm>
        </p:spPr>
        <p:txBody>
          <a:bodyPr/>
          <a:lstStyle/>
          <a:p>
            <a:r>
              <a:rPr lang="en-US" sz="2800" dirty="0"/>
              <a:t>Vector database is being saved in </a:t>
            </a:r>
            <a:r>
              <a:rPr lang="en-US" sz="2800" dirty="0" err="1"/>
              <a:t>ChromaDB</a:t>
            </a:r>
            <a:r>
              <a:rPr lang="en-US" sz="2800" dirty="0"/>
              <a:t> </a:t>
            </a:r>
          </a:p>
          <a:p>
            <a:endParaRPr lang="en-US" sz="2800" dirty="0"/>
          </a:p>
          <a:p>
            <a:r>
              <a:rPr lang="en-US" sz="2800" dirty="0"/>
              <a:t>It is being saved in systematic folder structure</a:t>
            </a:r>
          </a:p>
        </p:txBody>
      </p:sp>
    </p:spTree>
    <p:extLst>
      <p:ext uri="{BB962C8B-B14F-4D97-AF65-F5344CB8AC3E}">
        <p14:creationId xmlns:p14="http://schemas.microsoft.com/office/powerpoint/2010/main" val="6038252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106C8D-2B27-50CB-6A0D-8C8012F1B7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9AD3B8AB-4E47-88F0-3529-0576E8EC3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Initial Test case generatio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F036BA5-BA05-AD4C-78A2-1E77F6A0F0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3261" y="1988840"/>
            <a:ext cx="5681029" cy="3317060"/>
          </a:xfrm>
        </p:spPr>
        <p:txBody>
          <a:bodyPr/>
          <a:lstStyle/>
          <a:p>
            <a:r>
              <a:rPr lang="en-US" sz="2800" dirty="0"/>
              <a:t>Changed the prompt so that results being generated are of better quality.</a:t>
            </a:r>
          </a:p>
        </p:txBody>
      </p:sp>
    </p:spTree>
    <p:extLst>
      <p:ext uri="{BB962C8B-B14F-4D97-AF65-F5344CB8AC3E}">
        <p14:creationId xmlns:p14="http://schemas.microsoft.com/office/powerpoint/2010/main" val="21712170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70F97C-9613-9BD7-DB77-B14F849FC2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1640BB8E-EAA0-56B7-EFC5-AEAAFD0C25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800" b="0" i="0" dirty="0">
                <a:solidFill>
                  <a:srgbClr val="2C3E50"/>
                </a:solidFill>
                <a:effectLst/>
                <a:latin typeface="Times New Roman" panose="02020603050405020304" pitchFamily="18" charset="0"/>
              </a:rPr>
              <a:t>System Architecture Overview : Debugger</a:t>
            </a:r>
            <a:endParaRPr lang="en-US" sz="4000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294AE0E-5B55-1D03-72FE-6928A4178E7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3261" y="1988840"/>
            <a:ext cx="9993219" cy="3317060"/>
          </a:xfrm>
        </p:spPr>
        <p:txBody>
          <a:bodyPr/>
          <a:lstStyle/>
          <a:p>
            <a:pPr algn="l">
              <a:spcBef>
                <a:spcPts val="1125"/>
              </a:spcBef>
              <a:spcAft>
                <a:spcPts val="1125"/>
              </a:spcAft>
            </a:pPr>
            <a:r>
              <a:rPr lang="en-IN" sz="1600" b="0" i="0" dirty="0">
                <a:solidFill>
                  <a:srgbClr val="34495E"/>
                </a:solidFill>
                <a:effectLst/>
                <a:latin typeface="Times New Roman" panose="02020603050405020304" pitchFamily="18" charset="0"/>
              </a:rPr>
              <a:t>Core Architecture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IN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Three-Layer Architecture: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IN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1. Test Generation Layer (</a:t>
            </a:r>
            <a:r>
              <a:rPr lang="en-IN" sz="1600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TestRegenerator</a:t>
            </a:r>
            <a:r>
              <a:rPr lang="en-IN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, </a:t>
            </a:r>
            <a:r>
              <a:rPr lang="en-IN" sz="1600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TestRegeneratorWithSummary</a:t>
            </a:r>
            <a:r>
              <a:rPr lang="en-IN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)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IN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2. Dependency Management Layer (</a:t>
            </a:r>
            <a:r>
              <a:rPr lang="en-IN" sz="1600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GoDependencyMatrix</a:t>
            </a:r>
            <a:r>
              <a:rPr lang="en-IN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, </a:t>
            </a:r>
            <a:r>
              <a:rPr lang="en-IN" sz="1600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GoDependencyHandler</a:t>
            </a:r>
            <a:r>
              <a:rPr lang="en-IN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)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IN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3. Memory Management Layer (</a:t>
            </a:r>
            <a:r>
              <a:rPr lang="en-IN" sz="1600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MemoryLogger</a:t>
            </a:r>
            <a:r>
              <a:rPr lang="en-IN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, </a:t>
            </a:r>
            <a:r>
              <a:rPr lang="en-IN" sz="1600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GoTestMemory</a:t>
            </a:r>
            <a:r>
              <a:rPr lang="en-IN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)</a:t>
            </a:r>
          </a:p>
          <a:p>
            <a:pPr algn="l">
              <a:spcBef>
                <a:spcPts val="1125"/>
              </a:spcBef>
              <a:spcAft>
                <a:spcPts val="1125"/>
              </a:spcAft>
            </a:pPr>
            <a:r>
              <a:rPr lang="en-IN" sz="1600" b="0" i="0" dirty="0">
                <a:solidFill>
                  <a:srgbClr val="34495E"/>
                </a:solidFill>
                <a:effectLst/>
                <a:latin typeface="Times New Roman" panose="02020603050405020304" pitchFamily="18" charset="0"/>
              </a:rPr>
              <a:t>Integration Points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IN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LLM Integration via </a:t>
            </a:r>
            <a:r>
              <a:rPr lang="en-IN" sz="1600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HuggingFacePipelineAdapter</a:t>
            </a:r>
            <a:endParaRPr lang="en-IN" sz="1600" b="0" i="0" dirty="0">
              <a:solidFill>
                <a:srgbClr val="000000"/>
              </a:solidFill>
              <a:effectLst/>
              <a:latin typeface="Times New Roman" panose="02020603050405020304" pitchFamily="18" charset="0"/>
            </a:endParaRP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IN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File System Integration for Test Management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IN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Go Testing Framework Integration</a:t>
            </a:r>
          </a:p>
        </p:txBody>
      </p:sp>
      <p:pic>
        <p:nvPicPr>
          <p:cNvPr id="3" name="Picture 2" descr="A diagram of a computer&#10;&#10;Description automatically generated with medium confidence">
            <a:extLst>
              <a:ext uri="{FF2B5EF4-FFF2-40B4-BE49-F238E27FC236}">
                <a16:creationId xmlns:a16="http://schemas.microsoft.com/office/drawing/2014/main" id="{C865AD56-B22B-F12C-D13C-0680153563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16280" y="924758"/>
            <a:ext cx="2153983" cy="5445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2157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2841A6-CDBF-E1ED-AD22-9BA3AC2FFE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24A6E090-B8BF-A71B-9215-216BFB5A30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0" i="0" dirty="0">
                <a:solidFill>
                  <a:srgbClr val="2C3E50"/>
                </a:solidFill>
                <a:effectLst/>
                <a:latin typeface="Times New Roman" panose="02020603050405020304" pitchFamily="18" charset="0"/>
              </a:rPr>
              <a:t>Component Details</a:t>
            </a:r>
            <a:endParaRPr lang="en-US" sz="4000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FBA1C27-8877-846C-3C7D-F9424F0F3E7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3261" y="1988840"/>
            <a:ext cx="9993219" cy="3317060"/>
          </a:xfrm>
        </p:spPr>
        <p:txBody>
          <a:bodyPr/>
          <a:lstStyle/>
          <a:p>
            <a:pPr algn="l">
              <a:spcBef>
                <a:spcPts val="1125"/>
              </a:spcBef>
              <a:spcAft>
                <a:spcPts val="1125"/>
              </a:spcAft>
            </a:pPr>
            <a:r>
              <a:rPr lang="en-IN" sz="1600" b="0" i="0" dirty="0" err="1">
                <a:solidFill>
                  <a:srgbClr val="34495E"/>
                </a:solidFill>
                <a:effectLst/>
                <a:latin typeface="Times New Roman" panose="02020603050405020304" pitchFamily="18" charset="0"/>
              </a:rPr>
              <a:t>TestRegenerator</a:t>
            </a:r>
            <a:r>
              <a:rPr lang="en-IN" sz="1600" b="0" i="0" dirty="0">
                <a:solidFill>
                  <a:srgbClr val="34495E"/>
                </a:solidFill>
                <a:effectLst/>
                <a:latin typeface="Times New Roman" panose="02020603050405020304" pitchFamily="18" charset="0"/>
              </a:rPr>
              <a:t> Components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IN" sz="1600" b="0" i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TestRegenerator</a:t>
            </a:r>
            <a:r>
              <a:rPr lang="en-IN" sz="1600" b="0" i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- </a:t>
            </a:r>
            <a:r>
              <a:rPr lang="en-IN" sz="1600" b="0" i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regenerate_and_validate</a:t>
            </a:r>
            <a:r>
              <a:rPr lang="en-IN" sz="1600" b="0" i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) - </a:t>
            </a:r>
            <a:r>
              <a:rPr lang="en-IN" sz="1600" b="0" i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run_go_test</a:t>
            </a:r>
            <a:r>
              <a:rPr lang="en-IN" sz="1600" b="0" i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) - </a:t>
            </a:r>
            <a:r>
              <a:rPr lang="en-IN" sz="1600" b="0" i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analyze_errors</a:t>
            </a:r>
            <a:r>
              <a:rPr lang="en-IN" sz="1600" b="0" i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)</a:t>
            </a:r>
          </a:p>
          <a:p>
            <a:pPr algn="l">
              <a:spcBef>
                <a:spcPts val="1125"/>
              </a:spcBef>
              <a:spcAft>
                <a:spcPts val="1125"/>
              </a:spcAft>
            </a:pPr>
            <a:r>
              <a:rPr lang="en-IN" sz="1600" b="0" i="0" dirty="0">
                <a:solidFill>
                  <a:srgbClr val="34495E"/>
                </a:solidFill>
                <a:effectLst/>
                <a:latin typeface="Times New Roman" panose="02020603050405020304" pitchFamily="18" charset="0"/>
              </a:rPr>
              <a:t>Enhanced Components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IN" sz="1600" b="0" i="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TestRegeneratorWithSummary</a:t>
            </a:r>
            <a:r>
              <a:rPr lang="en-IN" sz="1600" b="0" i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: - Summary-based memory - Pattern recognition - Context optimization</a:t>
            </a:r>
          </a:p>
          <a:p>
            <a:pPr algn="l">
              <a:spcBef>
                <a:spcPts val="1125"/>
              </a:spcBef>
              <a:spcAft>
                <a:spcPts val="1125"/>
              </a:spcAft>
            </a:pPr>
            <a:r>
              <a:rPr lang="en-IN" sz="1600" b="0" i="0" dirty="0">
                <a:solidFill>
                  <a:srgbClr val="34495E"/>
                </a:solidFill>
                <a:effectLst/>
                <a:latin typeface="Times New Roman" panose="02020603050405020304" pitchFamily="18" charset="0"/>
              </a:rPr>
              <a:t>Supporting Systems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IN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Logging and Monitoring Infrastructure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IN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Error Analysis Framework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IN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Memory Management Systems</a:t>
            </a:r>
          </a:p>
        </p:txBody>
      </p:sp>
    </p:spTree>
    <p:extLst>
      <p:ext uri="{BB962C8B-B14F-4D97-AF65-F5344CB8AC3E}">
        <p14:creationId xmlns:p14="http://schemas.microsoft.com/office/powerpoint/2010/main" val="23033777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337E28-E7E4-597F-D365-7B90FD992D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F2D398EA-7967-1CB5-4C1A-8DAD1448CD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0" i="0" dirty="0">
                <a:solidFill>
                  <a:srgbClr val="2C3E50"/>
                </a:solidFill>
                <a:effectLst/>
                <a:latin typeface="Times New Roman" panose="02020603050405020304" pitchFamily="18" charset="0"/>
              </a:rPr>
              <a:t>2.1: Test Generation Workflow</a:t>
            </a:r>
            <a:endParaRPr lang="en-US" sz="4000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B7EDAB6-C663-F1F1-AA78-AAE6E83F08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3261" y="1988840"/>
            <a:ext cx="9993219" cy="3317060"/>
          </a:xfrm>
        </p:spPr>
        <p:txBody>
          <a:bodyPr/>
          <a:lstStyle/>
          <a:p>
            <a:pPr algn="l">
              <a:spcBef>
                <a:spcPts val="1125"/>
              </a:spcBef>
              <a:spcAft>
                <a:spcPts val="1125"/>
              </a:spcAft>
            </a:pPr>
            <a:r>
              <a:rPr lang="en-IN" sz="1600" b="0" i="0" dirty="0">
                <a:solidFill>
                  <a:srgbClr val="34495E"/>
                </a:solidFill>
                <a:effectLst/>
                <a:latin typeface="Times New Roman" panose="02020603050405020304" pitchFamily="18" charset="0"/>
              </a:rPr>
              <a:t>Generation Pipeline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IN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1. Source Code Analysis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IN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2. Dependency Resolution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IN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3. Test Template Generation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IN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4. LLM-based Enhancement</a:t>
            </a:r>
          </a:p>
          <a:p>
            <a:pPr algn="l">
              <a:spcBef>
                <a:spcPts val="1125"/>
              </a:spcBef>
              <a:spcAft>
                <a:spcPts val="1125"/>
              </a:spcAft>
            </a:pPr>
            <a:r>
              <a:rPr lang="en-IN" sz="1600" b="0" i="0" dirty="0">
                <a:solidFill>
                  <a:srgbClr val="34495E"/>
                </a:solidFill>
                <a:effectLst/>
                <a:latin typeface="Times New Roman" panose="02020603050405020304" pitchFamily="18" charset="0"/>
              </a:rPr>
              <a:t>Error Handling</a:t>
            </a:r>
          </a:p>
          <a:p>
            <a:pPr marL="285750" indent="-285750"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IN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Automatic Error Detection</a:t>
            </a:r>
          </a:p>
          <a:p>
            <a:pPr marL="285750" indent="-285750"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IN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Pattern-based Error Resolution</a:t>
            </a:r>
          </a:p>
          <a:p>
            <a:pPr marL="285750" indent="-285750"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IN" sz="1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Iterative Improvement Process</a:t>
            </a:r>
          </a:p>
        </p:txBody>
      </p:sp>
    </p:spTree>
    <p:extLst>
      <p:ext uri="{BB962C8B-B14F-4D97-AF65-F5344CB8AC3E}">
        <p14:creationId xmlns:p14="http://schemas.microsoft.com/office/powerpoint/2010/main" val="18016540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9F39EA-7624-144B-BAA2-FF7069434F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E8A42C9D-3B8F-B270-2342-7626671514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0" i="0" dirty="0">
                <a:solidFill>
                  <a:srgbClr val="2C3E50"/>
                </a:solidFill>
                <a:effectLst/>
                <a:latin typeface="Times New Roman" panose="02020603050405020304" pitchFamily="18" charset="0"/>
              </a:rPr>
              <a:t>Advanced Generation Features</a:t>
            </a:r>
            <a:endParaRPr lang="en-US" sz="4000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3500A22-6473-B041-918E-9E2EA008E43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3261" y="1988840"/>
            <a:ext cx="9993219" cy="3317060"/>
          </a:xfrm>
        </p:spPr>
        <p:txBody>
          <a:bodyPr/>
          <a:lstStyle/>
          <a:p>
            <a:pPr algn="l">
              <a:spcBef>
                <a:spcPts val="1125"/>
              </a:spcBef>
              <a:spcAft>
                <a:spcPts val="1125"/>
              </a:spcAft>
            </a:pPr>
            <a:r>
              <a:rPr lang="en-IN" sz="2000" b="0" i="0" dirty="0">
                <a:solidFill>
                  <a:srgbClr val="34495E"/>
                </a:solidFill>
                <a:effectLst/>
                <a:latin typeface="Times New Roman" panose="02020603050405020304" pitchFamily="18" charset="0"/>
              </a:rPr>
              <a:t>Intelligent Test Generation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IN" sz="20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Context-Aware Test Cases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IN" sz="20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Pattern Recognition from Previous Success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IN" sz="20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Adaptive Learning System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IN" sz="20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Key Algorithms: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r>
              <a:rPr lang="en-IN" sz="2000" b="0" i="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1. Error Pattern Analysis 2. Test Case Generation 3. Validation Pipeline 4. Coverage Optimization</a:t>
            </a:r>
          </a:p>
        </p:txBody>
      </p:sp>
    </p:spTree>
    <p:extLst>
      <p:ext uri="{BB962C8B-B14F-4D97-AF65-F5344CB8AC3E}">
        <p14:creationId xmlns:p14="http://schemas.microsoft.com/office/powerpoint/2010/main" val="3859838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AGENDAWIZARD" val="&lt;ee4p&gt;&lt;layouts&gt;&lt;layout name=&quot;Capgemini invent Line Grey&quot; id=&quot;435_2&quot;&gt;&lt;standard&gt;&lt;textframe horizontalAnchor=&quot;1&quot; marginBottom=&quot;0&quot; marginLeft=&quot;0&quot; marginRight=&quot;0&quot; marginTop=&quot;0&quot; orientation=&quot;1&quot; verticalAnchor=&quot;1&quot; /&gt;&lt;font name=&quot;Ubuntu&quot; bold=&quot;0&quot; italic=&quot;0&quot; color=&quot;#ffffff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2&quot; fontSize=&quot;24&quot; fontSizeAuto=&quot;1&quot; startTime=&quot;540&quot; timeFormatId=&quot;2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52&quot; /&gt;&lt;column field=&quot;topic&quot; label=&quot;Topic&quot; leftSpacing=&quot;1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84.31764&quot; top=&quot;128.4218&quot; width=&quot;611.1824&quot; height=&quot;379.8731&quot; /&gt;&lt;settings allowedSizingModeIds=&quot;1|2&quot; allowedFontSizes=&quot;8|9|10|10.5|11|12|14|16|18&quot; allowedTimeFormatIds=&quot;1|2|3&quot; slideLayout=&quot;11&quot; customLayoutName=&quot;1_Agenda&quot; customLayoutNameBackup=&quot;1_Agenda&quot; customLayoutIndex=&quot;&quot; showBreak=&quot;1&quot; singleAgendaSlideSelected=&quot;0&quot; backupSlideTitle=&quot;Backup: %agendaName%&quot; topMargin=&quot;0&quot; leftMargin=&quot;0&quot; allowedLevels=&quot;4&quot; itemNoFormats=&quot;{1:2}¦{1:2}.{2}¦{3:alphaLC}¦{3:alphaLC}.{4:alphaLC}&quot; /&gt;&lt;!-- Agenda item formats --&gt;&lt;cases&gt;&lt;case level=&quot;1&quot; selected=&quot;0&quot; break=&quot;0&quot; topMinSpacing=&quot;15&quot; topMaxSpacing=&quot;15&quot; bottomMinSpacing=&quot;0&quot; bottomMaxSpacing=&quot;0&quot;&gt;&lt;element field=&quot;itemno&quot; type=&quot;autoshape&quot; autoShape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15&quot; topMaxSpacing=&quot;15&quot; bottomMinSpacing=&quot;0&quot; bottomMaxSpacing=&quot;0&quot;&gt;&lt;element type=&quot;line&quot; value=&quot;&quot;&gt;&lt;position left=&quot;0&quot; top=&quot;itemHeight+3*scale*fontScale&quot; width=&quot;agendaWidth&quot; height=&quot;0&quot; /&gt;&lt;line style=&quot;1&quot; dashStyle=&quot;1&quot; foreColor=&quot;6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6&quot; transparency=&quot;0&quot; visible=&quot;1&quot; weight=&quot;1&quot; /&gt;&lt;/element&gt;&lt;element field=&quot;itemno&quot; type=&quot;autoshape&quot; autoShape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15&quot; topMaxSpacing=&quot;15&quot; bottomMinSpacing=&quot;0&quot; bottomMaxSpacing=&quot;0&quot;&gt;&lt;element field=&quot;itemno&quot; type=&quot;autoshape&quot; autoShapeType=&quot;1&quot; indent=&quot;(level-1)*(itemNoWidth+topicLeftSpacing) &quot; indent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 indent=&quot;(level-1)*(itemNoWidth+topicLeftSpacing) &quot; indentType=&quot;2&quot;&gt;&lt;paragraphformat alignment=&quot;1&quot; /&gt;&lt;textframe marginLeft=&quot;0&quot; /&gt;&lt;/element&gt;&lt;element field=&quot;responsible&quot; type=&quot;autoshape&quot; autoShapeType=&quot;1&quot; indent=&quot;(level-1)*(itemNoWidth+topicLeftSpacing) &quot; indentType=&quot;1&quot;&gt;&lt;paragraphformat alignment=&quot;1&quot; /&gt;&lt;/element&gt;&lt;element field=&quot;freecolumn&quot; type=&quot;autoshape&quot; autoShapeType=&quot;1&quot; indent=&quot;(level-1)*(itemNoWidth+topicLeftSpacing) &quot; indent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15&quot; topMaxSpacing=&quot;15&quot; bottomMinSpacing=&quot;0&quot; bottomMaxSpacing=&quot;0&quot;&gt;&lt;element type=&quot;line&quot; value=&quot;&quot;&gt;&lt;position left=&quot;0&quot; top=&quot;itemHeight+3*scale*fontScale&quot; width=&quot;agendaWidth&quot; height=&quot;0&quot; /&gt;&lt;line style=&quot;1&quot; dashStyle=&quot;1&quot; foreColor=&quot;6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6&quot; transparency=&quot;0&quot; visible=&quot;1&quot; weight=&quot;1&quot; /&gt;&lt;/element&gt;&lt;element field=&quot;itemno&quot; type=&quot;autoshape&quot; autoShapeType=&quot;1&quot; indent=&quot;(level-1)*(itemNoWidth+topicLeftSpacing) &quot; indent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 indent=&quot;(level-1)*(itemNoWidth+topicLeftSpacing) &quot; indentType=&quot;2&quot;&gt;&lt;paragraphformat alignment=&quot;1&quot; /&gt;&lt;textframe marginLeft=&quot;0&quot; /&gt;&lt;/element&gt;&lt;element field=&quot;responsible&quot; type=&quot;autoshape&quot; autoShapeType=&quot;1&quot; indent=&quot;(level-1)*(itemNoWidth+topicLeftSpacing) &quot; indentType=&quot;1&quot;&gt;&lt;paragraphformat alignment=&quot;1&quot; /&gt;&lt;/element&gt;&lt;element field=&quot;freecolumn&quot; type=&quot;autoshape&quot; autoShapeType=&quot;1&quot; indent=&quot;(level-1)*(itemNoWidth+topicLeftSpacing) &quot; indent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15&quot; topMaxSpacing=&quot;15&quot; bottomMinSpacing=&quot;0&quot; bottomMaxSpacing=&quot;0&quot;&gt;&lt;element field=&quot;topic&quot; type=&quot;autoshape&quot; autoShapeType=&quot;1&quot; indent=&quot;(level-1)*(itemNoWidth+topicLeftSpacing) &quot; indentType=&quot;2&quot;&gt;&lt;paragraphformat alignment=&quot;1&quot; /&gt;&lt;font italic=&quot;1&quot; /&gt;&lt;/element&gt;&lt;element field=&quot;responsible&quot; type=&quot;autoshape&quot; autoShapeType=&quot;1&quot; indent=&quot;(level-1)*(itemNoWidth+topicLeftSpacing) &quot; indentType=&quot;1&quot;&gt;&lt;paragraphformat alignment=&quot;1&quot; /&gt;&lt;font italic=&quot;1&quot; /&gt;&lt;/element&gt;&lt;element field=&quot;freecolumn&quot; type=&quot;autoshape&quot; autoShapeType=&quot;1&quot; indent=&quot;(level-1)*(itemNoWidth+topicLeftSpacing) &quot; indentType=&quot;1&quot;&gt;&lt;paragraphformat alignment=&quot;1&quot; /&gt;&lt;font italic=&quot;1&quot; /&gt;&lt;/element&gt;&lt;element field=&quot;timeslot&quot; type=&quot;autoshape&quot; autoShapeType=&quot;1&quot;&gt;&lt;paragraphformat alignment=&quot;3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15&quot; topMaxSpacing=&quot;15&quot; bottomMinSpacing=&quot;0&quot; bottomMaxSpacing=&quot;0&quot;&gt;&lt;element type=&quot;line&quot; value=&quot;&quot;&gt;&lt;position left=&quot;0&quot; top=&quot;itemHeight+3*scale*fontScale&quot; width=&quot;agendaWidth&quot; height=&quot;0&quot; /&gt;&lt;line style=&quot;1&quot; dashStyle=&quot;1&quot; foreColor=&quot;6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6&quot; transparency=&quot;0&quot; visible=&quot;1&quot; weight=&quot;1&quot; /&gt;&lt;/element&gt;&lt;element field=&quot;topic&quot; type=&quot;autoshape&quot; autoShapeType=&quot;1&quot; indent=&quot;(level-1)*(itemNoWidth+topicLeftSpacing) &quot; indentType=&quot;2&quot;&gt;&lt;paragraphformat alignment=&quot;1&quot; /&gt;&lt;font italic=&quot;1&quot; /&gt;&lt;/element&gt;&lt;element field=&quot;responsible&quot; type=&quot;autoshape&quot; autoShapeType=&quot;1&quot; indent=&quot;(level-1)*(itemNoWidth+topicLeftSpacing) &quot; indentType=&quot;1&quot;&gt;&lt;paragraphformat alignment=&quot;1&quot; /&gt;&lt;font italic=&quot;1&quot; /&gt;&lt;/element&gt;&lt;element field=&quot;freecolumn&quot; type=&quot;autoshape&quot; autoShapeType=&quot;1&quot; indent=&quot;(level-1)*(itemNoWidth+topicLeftSpacing) &quot; indentType=&quot;1&quot;&gt;&lt;paragraphformat alignment=&quot;1&quot; /&gt;&lt;font italic=&quot;1&quot; /&gt;&lt;/element&gt;&lt;element field=&quot;timeslot&quot; type=&quot;autoshape&quot; autoShapeType=&quot;1&quot;&gt;&lt;paragraphformat alignment=&quot;3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   &lt;element type=&quot;picture&quot; picture=&quot;image.png&quot; value=&quot;asdf&quot;  &gt;&#10;          &lt;position left=&quot;-278.9405&quot; top=&quot;-142.375&quot; width=&quot;457.6407&quot; height=&quot;540.0002&quot;/&gt;        &#10;        &lt;/element&gt;&#10;&#10;        &lt;element type=&quot;picture&quot; picture=&quot;BG_blue.png&quot; value=&quot;asdf&quot;  &gt;&#10;          &lt;position left=&quot;-278.9405&quot; top=&quot;-142.375&quot; width=&quot;960&quot; height=&quot;540&quot;/&gt;        &#10;        &lt;/element&gt; --&gt;&lt;/elements&gt;&lt;/layout&gt;&lt;/layouts&gt;&lt;contents&gt;&lt;agenda name=&quot;New Agenda&quot; title=&quot;Agenda&quot; subtitle=&quot;&quot; sizingModeId=&quot;2&quot; fontSize=&quot;24&quot; fontSizeAuto=&quot;1&quot; startTime=&quot;540&quot; timeFormatId=&quot;2&quot; startItemNo=&quot;1&quot; createSingleAgendaSlide=&quot;1&quot; createSeparatingSlides=&quot;1&quot; createBackupSlide=&quot;1&quot; layoutId=&quot;435_2&quot; hideSeparatingSlides=&quot;0&quot; createSections=&quot;0&quot; singleSlideId=&quot;4a985bb3-9c0f-4d30-bab0-e861f6c1f7d9&quot; backupSlideId=&quot;59f12b8f-bcfa-4c72-806d-af721da5741a&quot;&gt;&lt;columns leftSpacing=&quot;0&quot; rightSpacing=&quot;0&quot;&gt;&lt;column field=&quot;itemno&quot; label=&quot;No.&quot; checked=&quot;1&quot; leftSpacing=&quot;0&quot; rightSpacing=&quot;0&quot; dock=&quot;1&quot; fixedWidth=&quot;52&quot; /&gt;&lt;column field=&quot;topic&quot; label=&quot;Topic&quot; leftSpacing=&quot;10&quot; rightDistribute=&quot;1&quot; dock=&quot;1&quot; rightSpacing=&quot;114.0997&quot; /&gt;&lt;column field=&quot;responsible&quot; label=&quot;Responsible&quot; visible=&quot;1&quot; checked=&quot;1&quot; leftSpacing=&quot;10&quot; rightDistribute=&quot;1&quot; dock=&quot;1&quot; rightSpacing=&quot;114.0997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f30ff3b2-059e-47be-bfce-20f89c801ddd&quot; parentId=&quot;&quot; level=&quot;1&quot; generateAgendaSlide=&quot;1&quot; showAgendaItem=&quot;1&quot; isBreak=&quot;0&quot; topic=&quot;Part 1&quot; agendaSlideId=&quot;af0b860f-cd42-4a9e-9c99-a53635a9e083&quot; /&gt;&lt;item duration=&quot;30&quot; id=&quot;7f2c9adb-5359-438f-8174-f3799807dfb9&quot; parentId=&quot;&quot; level=&quot;1&quot; generateAgendaSlide=&quot;1&quot; showAgendaItem=&quot;1&quot; isBreak=&quot;0&quot; topic=&quot;Part 2&quot; agendaSlideId=&quot;07e6bc76-8a2b-48ad-97c4-1f85e540bbd5&quot; /&gt;&lt;item duration=&quot;30&quot; id=&quot;00ba97b5-5509-49fc-95b8-9afe1f8e54cf&quot; parentId=&quot;&quot; level=&quot;1&quot; generateAgendaSlide=&quot;1&quot; showAgendaItem=&quot;1&quot; isBreak=&quot;0&quot; topic=&quot;Part 3&quot; agendaSlideId=&quot;4d6dfe7c-00a3-4d20-aa7f-6447da594e0a&quot; /&gt;&lt;item duration=&quot;30&quot; id=&quot;d6c20a75-a816-4fd9-9cac-9e1eb824eb5f&quot; parentId=&quot;&quot; level=&quot;1&quot; generateAgendaSlide=&quot;1&quot; showAgendaItem=&quot;1&quot; isBreak=&quot;0&quot; topic=&quot;Part 4&quot; agendaSlideId=&quot;d29762e6-a410-4070-9806-5d73acff4eaf&quot; /&gt;&lt;/items&gt;&lt;/agenda&gt;&lt;/contents&gt;&lt;/ee4p&gt;"/>
  <p:tag name="EE4P_STYLE_ID" val="3edb2f5e-e25b-4bbf-81ee-2b4396447386"/>
</p:tagLst>
</file>

<file path=ppt/theme/theme1.xml><?xml version="1.0" encoding="utf-8"?>
<a:theme xmlns:a="http://schemas.openxmlformats.org/drawingml/2006/main" name="Capgemini-Engineering_2024">
  <a:themeElements>
    <a:clrScheme name="Capgemini 2024">
      <a:dk1>
        <a:sysClr val="windowText" lastClr="000000"/>
      </a:dk1>
      <a:lt1>
        <a:srgbClr val="FFFFFF"/>
      </a:lt1>
      <a:dk2>
        <a:srgbClr val="000000"/>
      </a:dk2>
      <a:lt2>
        <a:srgbClr val="F6F6F6"/>
      </a:lt2>
      <a:accent1>
        <a:srgbClr val="0070AD"/>
      </a:accent1>
      <a:accent2>
        <a:srgbClr val="12ABDB"/>
      </a:accent2>
      <a:accent3>
        <a:srgbClr val="14596B"/>
      </a:accent3>
      <a:accent4>
        <a:srgbClr val="272936"/>
      </a:accent4>
      <a:accent5>
        <a:srgbClr val="0F878A"/>
      </a:accent5>
      <a:accent6>
        <a:srgbClr val="00BFBF"/>
      </a:accent6>
      <a:hlink>
        <a:srgbClr val="00929B"/>
      </a:hlink>
      <a:folHlink>
        <a:srgbClr val="00BFBF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>
          <a:noFill/>
          <a:prstDash val="soli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90000" tIns="46800" rIns="90000" bIns="46800" rtlCol="0" anchor="ctr">
        <a:spAutoFit/>
      </a:bodyPr>
      <a:lstStyle>
        <a:defPPr algn="l">
          <a:spcBef>
            <a:spcPct val="0"/>
          </a:spcBef>
          <a:defRPr sz="1400" dirty="0" err="1" smtClean="0"/>
        </a:defPPr>
      </a:lstStyle>
    </a:txDef>
  </a:objectDefaults>
  <a:extraClrSchemeLst/>
  <a:custClrLst>
    <a:custClr name="Green A">
      <a:srgbClr val="57CF80"/>
    </a:custClr>
    <a:custClr name="Green B">
      <a:srgbClr val="33B569"/>
    </a:custClr>
    <a:custClr name="Green C">
      <a:srgbClr val="2EA657"/>
    </a:custClr>
    <a:custClr name="Green D">
      <a:srgbClr val="178C3D"/>
    </a:custClr>
    <a:custClr name="Green E">
      <a:srgbClr val="176036"/>
    </a:custClr>
    <a:custClr name="Teal A">
      <a:srgbClr val="00E6E3"/>
    </a:custClr>
    <a:custClr name="Teal B">
      <a:srgbClr val="00D5D0"/>
    </a:custClr>
    <a:custClr name="Teal C">
      <a:srgbClr val="00BFBF"/>
    </a:custClr>
    <a:custClr name="Teal D">
      <a:srgbClr val="00929B"/>
    </a:custClr>
    <a:custClr name="Teal E">
      <a:srgbClr val="007D74"/>
    </a:custClr>
    <a:custClr name="Peacock A">
      <a:srgbClr val="00E0CB"/>
    </a:custClr>
    <a:custClr name="Peacock B">
      <a:srgbClr val="00B2A2"/>
    </a:custClr>
    <a:custClr name="Peacock C">
      <a:srgbClr val="0F878A"/>
    </a:custClr>
    <a:custClr name="Peacock D">
      <a:srgbClr val="0F6A73"/>
    </a:custClr>
    <a:custClr name="Peacock E">
      <a:srgbClr val="0F434A"/>
    </a:custClr>
    <a:custClr name="Sapphire A">
      <a:srgbClr val="338091"/>
    </a:custClr>
    <a:custClr name="Sapphire B">
      <a:srgbClr val="336B7D"/>
    </a:custClr>
    <a:custClr name="Sapphire C">
      <a:srgbClr val="14596B"/>
    </a:custClr>
    <a:custClr name="Sapphire D">
      <a:srgbClr val="214554"/>
    </a:custClr>
    <a:custClr name="Sapphire E">
      <a:srgbClr val="173340"/>
    </a:custClr>
    <a:custClr name="Violet A">
      <a:srgbClr val="E557AD"/>
    </a:custClr>
    <a:custClr name="Violet B">
      <a:srgbClr val="D13A8C"/>
    </a:custClr>
    <a:custClr name="Violet C">
      <a:srgbClr val="BA2980"/>
    </a:custClr>
    <a:custClr name="Violet D">
      <a:srgbClr val="A12980"/>
    </a:custClr>
    <a:custClr name="Violet E">
      <a:srgbClr val="811B6F"/>
    </a:custClr>
    <a:custClr name="Yellow A">
      <a:srgbClr val="FFDA80"/>
    </a:custClr>
    <a:custClr name="Yellow B">
      <a:srgbClr val="FFD068"/>
    </a:custClr>
    <a:custClr name="Yellow C">
      <a:srgbClr val="FFB24A"/>
    </a:custClr>
    <a:custClr name="Yellow D">
      <a:srgbClr val="FF9C29"/>
    </a:custClr>
    <a:custClr name="Yellow E">
      <a:srgbClr val="FF8E12"/>
    </a:custClr>
    <a:custClr name="Velvet A">
      <a:srgbClr val="9E4780"/>
    </a:custClr>
    <a:custClr name="Velvet B">
      <a:srgbClr val="802B73"/>
    </a:custClr>
    <a:custClr name="Velvet C">
      <a:srgbClr val="750D5C"/>
    </a:custClr>
    <a:custClr name="Velvet D">
      <a:srgbClr val="590A42"/>
    </a:custClr>
    <a:custClr name="Velvet E">
      <a:srgbClr val="42142E"/>
    </a:custClr>
    <a:custClr name="Red A">
      <a:srgbClr val="FF5770"/>
    </a:custClr>
    <a:custClr name="Red B">
      <a:srgbClr val="FF455E"/>
    </a:custClr>
    <a:custClr name="Red C">
      <a:srgbClr val="FF304D"/>
    </a:custClr>
    <a:custClr name="Red D">
      <a:srgbClr val="E30021"/>
    </a:custClr>
    <a:custClr name="Red E">
      <a:srgbClr val="A6001A"/>
    </a:custClr>
  </a:custClrLst>
  <a:extLst>
    <a:ext uri="{05A4C25C-085E-4340-85A3-A5531E510DB2}">
      <thm15:themeFamily xmlns:thm15="http://schemas.microsoft.com/office/thememl/2012/main" name="Présentation1" id="{CBF8B02A-87D7-475B-9191-27FA179E52F0}" vid="{83C4CF79-B766-4E4E-9FBE-B47882FE4B4E}"/>
    </a:ext>
  </a:extLst>
</a:theme>
</file>

<file path=ppt/theme/theme2.xml><?xml version="1.0" encoding="utf-8"?>
<a:theme xmlns:a="http://schemas.openxmlformats.org/drawingml/2006/main" name="Tema do Office">
  <a:themeElements>
    <a:clrScheme name="Capgemini Invent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0070A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Invent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0070A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3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46D005C7-03E4-4069-A4FB-9A9D17E8A0A1}">
  <we:reference id="wa200000729" version="3.19.222.0" store="en-US" storeType="OMEX"/>
  <we:alternateReferences>
    <we:reference id="wa200000729" version="3.19.222.0" store="WA200000729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DB8F1B61B4E349B1D07C13E9DB8DAC" ma:contentTypeVersion="11" ma:contentTypeDescription="Create a new document." ma:contentTypeScope="" ma:versionID="3aaf0f9d2064301305610fb2c4a290e0">
  <xsd:schema xmlns:xsd="http://www.w3.org/2001/XMLSchema" xmlns:xs="http://www.w3.org/2001/XMLSchema" xmlns:p="http://schemas.microsoft.com/office/2006/metadata/properties" xmlns:ns2="f1122fed-4606-4ec8-90ef-13536176a38c" xmlns:ns3="83fd27e2-85d6-4e10-9bbd-a3e555ecf21b" targetNamespace="http://schemas.microsoft.com/office/2006/metadata/properties" ma:root="true" ma:fieldsID="2b8266dd3e8c0b66e3d5c70a7635ee51" ns2:_="" ns3:_="">
    <xsd:import namespace="f1122fed-4606-4ec8-90ef-13536176a38c"/>
    <xsd:import namespace="83fd27e2-85d6-4e10-9bbd-a3e555ecf21b"/>
    <xsd:element name="properties">
      <xsd:complexType>
        <xsd:sequence>
          <xsd:element name="documentManagement">
            <xsd:complexType>
              <xsd:all>
                <xsd:element ref="ns2:Entity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Classification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122fed-4606-4ec8-90ef-13536176a38c" elementFormDefault="qualified">
    <xsd:import namespace="http://schemas.microsoft.com/office/2006/documentManagement/types"/>
    <xsd:import namespace="http://schemas.microsoft.com/office/infopath/2007/PartnerControls"/>
    <xsd:element name="Entity" ma:index="8" ma:displayName="Entity" ma:format="RadioButtons" ma:internalName="Entity">
      <xsd:simpleType>
        <xsd:restriction base="dms:Choice">
          <xsd:enumeration value="Capgemini Group"/>
          <xsd:enumeration value="Capgemini Invent"/>
          <xsd:enumeration value="Group IT"/>
          <xsd:enumeration value="Sogeti"/>
          <xsd:enumeration value="Capgemini Engineering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Classification" ma:index="13" ma:displayName="Classification" ma:description="Data Classification" ma:format="RadioButtons" ma:internalName="Classification">
      <xsd:simpleType>
        <xsd:restriction base="dms:Choice">
          <xsd:enumeration value="Company Public (Sec 0)"/>
          <xsd:enumeration value="Company Confidential (Sec 1)"/>
          <xsd:enumeration value="Company Restricted (Sec 2)"/>
          <xsd:enumeration value="Company Sensitive (Sec 3)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fd27e2-85d6-4e10-9bbd-a3e555ecf21b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ntity xmlns="f1122fed-4606-4ec8-90ef-13536176a38c">Capgemini Engineering</Entity>
    <Classification xmlns="f1122fed-4606-4ec8-90ef-13536176a38c">Company Public (Sec 0)</Classification>
  </documentManagement>
</p:properties>
</file>

<file path=customXml/itemProps1.xml><?xml version="1.0" encoding="utf-8"?>
<ds:datastoreItem xmlns:ds="http://schemas.openxmlformats.org/officeDocument/2006/customXml" ds:itemID="{0F002EF0-4385-4161-A478-A921A3273DA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290D1A2-3B56-4045-ABFE-509067B8B8B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1122fed-4606-4ec8-90ef-13536176a38c"/>
    <ds:schemaRef ds:uri="83fd27e2-85d6-4e10-9bbd-a3e555ecf21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6D7A5DE-E35F-46C9-A3BD-5EFC707A1FB5}">
  <ds:schemaRefs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terms/"/>
    <ds:schemaRef ds:uri="http://purl.org/dc/elements/1.1/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83fd27e2-85d6-4e10-9bbd-a3e555ecf21b"/>
    <ds:schemaRef ds:uri="f1122fed-4606-4ec8-90ef-13536176a38c"/>
  </ds:schemaRefs>
</ds:datastoreItem>
</file>

<file path=docMetadata/LabelInfo.xml><?xml version="1.0" encoding="utf-8"?>
<clbl:labelList xmlns:clbl="http://schemas.microsoft.com/office/2020/mipLabelMetadata">
  <clbl:label id="{76a2ae5a-9f00-4f6b-95ed-5d33d77c4d61}" enabled="0" method="" siteId="{76a2ae5a-9f00-4f6b-95ed-5d33d77c4d6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Capgemini Engineering template 2024</Template>
  <TotalTime>1779</TotalTime>
  <Words>406</Words>
  <Application>Microsoft Office PowerPoint</Application>
  <PresentationFormat>Widescreen</PresentationFormat>
  <Paragraphs>96</Paragraphs>
  <Slides>14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Ubuntu Light</vt:lpstr>
      <vt:lpstr>Wingdings</vt:lpstr>
      <vt:lpstr>Times New Roman</vt:lpstr>
      <vt:lpstr>Courier New</vt:lpstr>
      <vt:lpstr>Ubuntu Medium</vt:lpstr>
      <vt:lpstr>Ubuntu</vt:lpstr>
      <vt:lpstr>Verdana</vt:lpstr>
      <vt:lpstr>Arial</vt:lpstr>
      <vt:lpstr>Capgemini-Engineering_2024</vt:lpstr>
      <vt:lpstr>Test Case  Generations</vt:lpstr>
      <vt:lpstr>Overview</vt:lpstr>
      <vt:lpstr>Improved the .md files creation</vt:lpstr>
      <vt:lpstr>Vector Database Storage</vt:lpstr>
      <vt:lpstr>Initial Test case generation</vt:lpstr>
      <vt:lpstr>System Architecture Overview : Debugger</vt:lpstr>
      <vt:lpstr>Component Details</vt:lpstr>
      <vt:lpstr>2.1: Test Generation Workflow</vt:lpstr>
      <vt:lpstr>Advanced Generation Features</vt:lpstr>
      <vt:lpstr>3.1: Dependency Analysis System</vt:lpstr>
      <vt:lpstr>Advanced Dependency Features</vt:lpstr>
      <vt:lpstr>Memory Systems Architecture</vt:lpstr>
      <vt:lpstr>Performance Analysis System</vt:lpstr>
      <vt:lpstr>PowerPoint Presentation</vt:lpstr>
    </vt:vector>
  </TitlesOfParts>
  <Manager>Capgemini</Manager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Sharma, Aman</dc:creator>
  <cp:lastModifiedBy>Jha, Aditya Narayan</cp:lastModifiedBy>
  <cp:revision>5</cp:revision>
  <dcterms:created xsi:type="dcterms:W3CDTF">2024-11-25T13:47:23Z</dcterms:created>
  <dcterms:modified xsi:type="dcterms:W3CDTF">2025-01-21T15:20:14Z</dcterms:modified>
  <cp:category>Public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DB8F1B61B4E349B1D07C13E9DB8DAC</vt:lpwstr>
  </property>
  <property fmtid="{D5CDD505-2E9C-101B-9397-08002B2CF9AE}" pid="3" name="MediaServiceImageTags">
    <vt:lpwstr/>
  </property>
</Properties>
</file>